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5.xml" ContentType="application/vnd.openxmlformats-officedocument.theme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6.xml" ContentType="application/vnd.openxmlformats-officedocument.theme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charts/chart1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864" r:id="rId2"/>
    <p:sldMasterId id="2147483906" r:id="rId3"/>
    <p:sldMasterId id="2147483926" r:id="rId4"/>
    <p:sldMasterId id="2147483981" r:id="rId5"/>
    <p:sldMasterId id="2147484007" r:id="rId6"/>
  </p:sldMasterIdLst>
  <p:notesMasterIdLst>
    <p:notesMasterId r:id="rId8"/>
  </p:notesMasterIdLst>
  <p:handoutMasterIdLst>
    <p:handoutMasterId r:id="rId9"/>
  </p:handoutMasterIdLst>
  <p:sldIdLst>
    <p:sldId id="2147470275" r:id="rId7"/>
  </p:sldIdLst>
  <p:sldSz cx="9144000" cy="6858000" type="screen4x3"/>
  <p:notesSz cx="7010400" cy="92964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66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D0D0D0"/>
    <a:srgbClr val="255BEB"/>
    <a:srgbClr val="2A335C"/>
    <a:srgbClr val="A1A3A5"/>
    <a:srgbClr val="7B9CED"/>
    <a:srgbClr val="1B56E9"/>
    <a:srgbClr val="0C2D83"/>
    <a:srgbClr val="59A14F"/>
    <a:srgbClr val="EDC9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82" autoAdjust="0"/>
    <p:restoredTop sz="94795" autoAdjust="0"/>
  </p:normalViewPr>
  <p:slideViewPr>
    <p:cSldViewPr snapToGrid="0" snapToObjects="1">
      <p:cViewPr varScale="1">
        <p:scale>
          <a:sx n="119" d="100"/>
          <a:sy n="119" d="100"/>
        </p:scale>
        <p:origin x="378" y="108"/>
      </p:cViewPr>
      <p:guideLst/>
    </p:cSldViewPr>
  </p:slideViewPr>
  <p:outlineViewPr>
    <p:cViewPr>
      <p:scale>
        <a:sx n="33" d="100"/>
        <a:sy n="33" d="100"/>
      </p:scale>
      <p:origin x="0" y="-268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10712"/>
    </p:cViewPr>
  </p:sorterViewPr>
  <p:notesViewPr>
    <p:cSldViewPr snapToGrid="0" snapToObjects="1">
      <p:cViewPr varScale="1">
        <p:scale>
          <a:sx n="66" d="100"/>
          <a:sy n="66" d="100"/>
        </p:scale>
        <p:origin x="2178" y="5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682767917321949E-2"/>
          <c:y val="2.0288724151385096E-2"/>
          <c:w val="0.97663446416535615"/>
          <c:h val="0.9594225516972297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E79A7"/>
            </a:solidFill>
            <a:ln w="9525" cap="flat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V$1</c:f>
              <c:numCache>
                <c:formatCode>General</c:formatCode>
                <c:ptCount val="22"/>
                <c:pt idx="0">
                  <c:v>1674</c:v>
                </c:pt>
                <c:pt idx="1">
                  <c:v>1677</c:v>
                </c:pt>
                <c:pt idx="2">
                  <c:v>1627</c:v>
                </c:pt>
                <c:pt idx="3">
                  <c:v>1662</c:v>
                </c:pt>
                <c:pt idx="4">
                  <c:v>1666</c:v>
                </c:pt>
                <c:pt idx="5">
                  <c:v>1624</c:v>
                </c:pt>
                <c:pt idx="6">
                  <c:v>1610</c:v>
                </c:pt>
                <c:pt idx="7">
                  <c:v>1563</c:v>
                </c:pt>
                <c:pt idx="8">
                  <c:v>1487</c:v>
                </c:pt>
                <c:pt idx="9">
                  <c:v>1398</c:v>
                </c:pt>
                <c:pt idx="10">
                  <c:v>1382</c:v>
                </c:pt>
                <c:pt idx="11">
                  <c:v>1311</c:v>
                </c:pt>
                <c:pt idx="12">
                  <c:v>1313</c:v>
                </c:pt>
                <c:pt idx="13">
                  <c:v>1239</c:v>
                </c:pt>
                <c:pt idx="14">
                  <c:v>1161</c:v>
                </c:pt>
                <c:pt idx="15">
                  <c:v>1137</c:v>
                </c:pt>
                <c:pt idx="16">
                  <c:v>1037</c:v>
                </c:pt>
                <c:pt idx="17">
                  <c:v>1046</c:v>
                </c:pt>
                <c:pt idx="18">
                  <c:v>975</c:v>
                </c:pt>
                <c:pt idx="19">
                  <c:v>890</c:v>
                </c:pt>
                <c:pt idx="20">
                  <c:v>800</c:v>
                </c:pt>
                <c:pt idx="21">
                  <c:v>7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18-4107-B848-CED8BE5B6901}"/>
            </c:ext>
          </c:extLst>
        </c:ser>
        <c:ser>
          <c:idx val="1"/>
          <c:order val="1"/>
          <c:spPr>
            <a:solidFill>
              <a:srgbClr val="73B3F7"/>
            </a:solidFill>
            <a:ln w="9525" cap="flat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V$2</c:f>
              <c:numCache>
                <c:formatCode>General</c:formatCode>
                <c:ptCount val="22"/>
                <c:pt idx="0">
                  <c:v>1549</c:v>
                </c:pt>
                <c:pt idx="1">
                  <c:v>1629</c:v>
                </c:pt>
                <c:pt idx="2">
                  <c:v>1533</c:v>
                </c:pt>
                <c:pt idx="3">
                  <c:v>1547</c:v>
                </c:pt>
                <c:pt idx="4">
                  <c:v>1526</c:v>
                </c:pt>
                <c:pt idx="5">
                  <c:v>1563</c:v>
                </c:pt>
                <c:pt idx="6">
                  <c:v>1534</c:v>
                </c:pt>
                <c:pt idx="7">
                  <c:v>1542</c:v>
                </c:pt>
                <c:pt idx="8">
                  <c:v>1497</c:v>
                </c:pt>
                <c:pt idx="9">
                  <c:v>1385</c:v>
                </c:pt>
                <c:pt idx="10">
                  <c:v>1368</c:v>
                </c:pt>
                <c:pt idx="11">
                  <c:v>1377</c:v>
                </c:pt>
                <c:pt idx="12">
                  <c:v>1304</c:v>
                </c:pt>
                <c:pt idx="13">
                  <c:v>1282</c:v>
                </c:pt>
                <c:pt idx="14">
                  <c:v>1216</c:v>
                </c:pt>
                <c:pt idx="15">
                  <c:v>1065</c:v>
                </c:pt>
                <c:pt idx="16">
                  <c:v>961</c:v>
                </c:pt>
                <c:pt idx="17">
                  <c:v>974</c:v>
                </c:pt>
                <c:pt idx="18">
                  <c:v>990</c:v>
                </c:pt>
                <c:pt idx="19">
                  <c:v>909</c:v>
                </c:pt>
                <c:pt idx="20">
                  <c:v>861</c:v>
                </c:pt>
                <c:pt idx="21">
                  <c:v>8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18-4107-B848-CED8BE5B69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21039984"/>
        <c:axId val="1"/>
      </c:barChart>
      <c:catAx>
        <c:axId val="210399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3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0399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258" cy="46529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576" y="0"/>
            <a:ext cx="3038258" cy="46529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/>
            </a:lvl1pPr>
          </a:lstStyle>
          <a:p>
            <a:fld id="{C0DF7188-80B9-4267-9A48-64F61C54F8C3}" type="datetime3">
              <a:rPr lang="en-US" smtClean="0"/>
              <a:t>4 February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831108"/>
            <a:ext cx="3038258" cy="46529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576" y="8831108"/>
            <a:ext cx="3038258" cy="46529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04159" tIns="46586" rIns="93174" bIns="46586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4" tIns="46586" rIns="904159" bIns="46586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39E811EC-5EEB-4DF1-8FB8-01E61B44A7C4}" type="datetime3">
              <a:rPr lang="en-US" smtClean="0"/>
              <a:t>4 February 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584200"/>
            <a:ext cx="5029200" cy="377190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3174" tIns="46586" rIns="93174" bIns="4658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04159" tIns="46586" rIns="93174" bIns="46586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4" tIns="46586" rIns="904159" bIns="46586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C9DD6736-F296-466C-A9BC-35AE03FEA2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0413" y="4473716"/>
            <a:ext cx="5609574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buFontTx/>
      <a:buNone/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tags" Target="../tags/tag28.xml"/><Relationship Id="rId11" Type="http://schemas.openxmlformats.org/officeDocument/2006/relationships/image" Target="../media/image2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image" Target="../media/image2.emf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image" Target="../media/image2.emf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5.xml"/><Relationship Id="rId10" Type="http://schemas.openxmlformats.org/officeDocument/2006/relationships/tags" Target="../tags/tag110.xml"/><Relationship Id="rId4" Type="http://schemas.openxmlformats.org/officeDocument/2006/relationships/tags" Target="../tags/tag104.xml"/><Relationship Id="rId9" Type="http://schemas.openxmlformats.org/officeDocument/2006/relationships/tags" Target="../tags/tag109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image" Target="../media/image3.emf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14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24.xml"/><Relationship Id="rId11" Type="http://schemas.openxmlformats.org/officeDocument/2006/relationships/image" Target="../media/image1.emf"/><Relationship Id="rId5" Type="http://schemas.openxmlformats.org/officeDocument/2006/relationships/tags" Target="../tags/tag123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22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2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2.emf"/><Relationship Id="rId2" Type="http://schemas.openxmlformats.org/officeDocument/2006/relationships/tags" Target="../tags/tag1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5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61.xml"/><Relationship Id="rId11" Type="http://schemas.openxmlformats.org/officeDocument/2006/relationships/image" Target="../media/image2.emf"/><Relationship Id="rId5" Type="http://schemas.openxmlformats.org/officeDocument/2006/relationships/tags" Target="../tags/tag160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159.xml"/><Relationship Id="rId9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10" Type="http://schemas.openxmlformats.org/officeDocument/2006/relationships/image" Target="../media/image3.emf"/><Relationship Id="rId4" Type="http://schemas.openxmlformats.org/officeDocument/2006/relationships/tags" Target="../tags/tag166.xml"/><Relationship Id="rId9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74.xml"/><Relationship Id="rId5" Type="http://schemas.openxmlformats.org/officeDocument/2006/relationships/tags" Target="../tags/tag173.xml"/><Relationship Id="rId10" Type="http://schemas.openxmlformats.org/officeDocument/2006/relationships/image" Target="../media/image2.emf"/><Relationship Id="rId4" Type="http://schemas.openxmlformats.org/officeDocument/2006/relationships/tags" Target="../tags/tag172.xml"/><Relationship Id="rId9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.vml"/><Relationship Id="rId6" Type="http://schemas.openxmlformats.org/officeDocument/2006/relationships/tags" Target="../tags/tag35.xml"/><Relationship Id="rId11" Type="http://schemas.openxmlformats.org/officeDocument/2006/relationships/image" Target="../media/image2.emf"/><Relationship Id="rId5" Type="http://schemas.openxmlformats.org/officeDocument/2006/relationships/tags" Target="../tags/tag34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3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80.xml"/><Relationship Id="rId5" Type="http://schemas.openxmlformats.org/officeDocument/2006/relationships/tags" Target="../tags/tag179.xml"/><Relationship Id="rId10" Type="http://schemas.openxmlformats.org/officeDocument/2006/relationships/image" Target="../media/image2.emf"/><Relationship Id="rId4" Type="http://schemas.openxmlformats.org/officeDocument/2006/relationships/tags" Target="../tags/tag178.xml"/><Relationship Id="rId9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86.xml"/><Relationship Id="rId5" Type="http://schemas.openxmlformats.org/officeDocument/2006/relationships/tags" Target="../tags/tag185.xml"/><Relationship Id="rId10" Type="http://schemas.openxmlformats.org/officeDocument/2006/relationships/image" Target="../media/image2.emf"/><Relationship Id="rId4" Type="http://schemas.openxmlformats.org/officeDocument/2006/relationships/tags" Target="../tags/tag184.xml"/><Relationship Id="rId9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92.xml"/><Relationship Id="rId11" Type="http://schemas.openxmlformats.org/officeDocument/2006/relationships/image" Target="../media/image2.emf"/><Relationship Id="rId5" Type="http://schemas.openxmlformats.org/officeDocument/2006/relationships/tags" Target="../tags/tag191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90.xml"/><Relationship Id="rId9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image" Target="../media/image3.emf"/><Relationship Id="rId2" Type="http://schemas.openxmlformats.org/officeDocument/2006/relationships/tags" Target="../tags/tag195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99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9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image" Target="../media/image3.emf"/><Relationship Id="rId2" Type="http://schemas.openxmlformats.org/officeDocument/2006/relationships/tags" Target="../tags/tag20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07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20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5.xml"/><Relationship Id="rId9" Type="http://schemas.openxmlformats.org/officeDocument/2006/relationships/tags" Target="../tags/tag210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image" Target="../media/image2.emf"/><Relationship Id="rId2" Type="http://schemas.openxmlformats.org/officeDocument/2006/relationships/tags" Target="../tags/tag211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15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21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3.xml"/><Relationship Id="rId9" Type="http://schemas.openxmlformats.org/officeDocument/2006/relationships/tags" Target="../tags/tag218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2.emf"/><Relationship Id="rId2" Type="http://schemas.openxmlformats.org/officeDocument/2006/relationships/tags" Target="../tags/tag219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23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22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image" Target="../media/image2.emf"/><Relationship Id="rId2" Type="http://schemas.openxmlformats.org/officeDocument/2006/relationships/tags" Target="../tags/tag227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31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3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9.xml"/><Relationship Id="rId9" Type="http://schemas.openxmlformats.org/officeDocument/2006/relationships/tags" Target="../tags/tag23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39.xml"/><Relationship Id="rId5" Type="http://schemas.openxmlformats.org/officeDocument/2006/relationships/tags" Target="../tags/tag238.xml"/><Relationship Id="rId10" Type="http://schemas.openxmlformats.org/officeDocument/2006/relationships/image" Target="../media/image1.emf"/><Relationship Id="rId4" Type="http://schemas.openxmlformats.org/officeDocument/2006/relationships/tags" Target="../tags/tag237.xml"/><Relationship Id="rId9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2.xml"/><Relationship Id="rId7" Type="http://schemas.openxmlformats.org/officeDocument/2006/relationships/oleObject" Target="../embeddings/oleObject30.bin"/><Relationship Id="rId2" Type="http://schemas.openxmlformats.org/officeDocument/2006/relationships/tags" Target="../tags/tag241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4.xml"/><Relationship Id="rId4" Type="http://schemas.openxmlformats.org/officeDocument/2006/relationships/tags" Target="../tags/tag24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11" Type="http://schemas.openxmlformats.org/officeDocument/2006/relationships/oleObject" Target="../embeddings/oleObject4.bin"/><Relationship Id="rId5" Type="http://schemas.openxmlformats.org/officeDocument/2006/relationships/tags" Target="../tags/tag4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0.xml"/><Relationship Id="rId9" Type="http://schemas.openxmlformats.org/officeDocument/2006/relationships/tags" Target="../tags/tag45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75.xml"/><Relationship Id="rId3" Type="http://schemas.openxmlformats.org/officeDocument/2006/relationships/tags" Target="../tags/tag270.xml"/><Relationship Id="rId7" Type="http://schemas.openxmlformats.org/officeDocument/2006/relationships/tags" Target="../tags/tag274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73.xml"/><Relationship Id="rId11" Type="http://schemas.openxmlformats.org/officeDocument/2006/relationships/image" Target="../media/image2.emf"/><Relationship Id="rId5" Type="http://schemas.openxmlformats.org/officeDocument/2006/relationships/tags" Target="../tags/tag272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71.xml"/><Relationship Id="rId9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3" Type="http://schemas.openxmlformats.org/officeDocument/2006/relationships/tags" Target="../tags/tag277.xml"/><Relationship Id="rId7" Type="http://schemas.openxmlformats.org/officeDocument/2006/relationships/tags" Target="../tags/tag281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80.xml"/><Relationship Id="rId11" Type="http://schemas.openxmlformats.org/officeDocument/2006/relationships/image" Target="../media/image2.emf"/><Relationship Id="rId5" Type="http://schemas.openxmlformats.org/officeDocument/2006/relationships/tags" Target="../tags/tag279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278.xml"/><Relationship Id="rId9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89.xml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12" Type="http://schemas.openxmlformats.org/officeDocument/2006/relationships/image" Target="../media/image1.emf"/><Relationship Id="rId2" Type="http://schemas.openxmlformats.org/officeDocument/2006/relationships/tags" Target="../tags/tag283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87.xml"/><Relationship Id="rId11" Type="http://schemas.openxmlformats.org/officeDocument/2006/relationships/oleObject" Target="../embeddings/oleObject35.bin"/><Relationship Id="rId5" Type="http://schemas.openxmlformats.org/officeDocument/2006/relationships/tags" Target="../tags/tag286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85.xml"/><Relationship Id="rId9" Type="http://schemas.openxmlformats.org/officeDocument/2006/relationships/tags" Target="../tags/tag290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97.xml"/><Relationship Id="rId3" Type="http://schemas.openxmlformats.org/officeDocument/2006/relationships/tags" Target="../tags/tag292.xml"/><Relationship Id="rId7" Type="http://schemas.openxmlformats.org/officeDocument/2006/relationships/tags" Target="../tags/tag296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95.xml"/><Relationship Id="rId11" Type="http://schemas.openxmlformats.org/officeDocument/2006/relationships/image" Target="../media/image2.emf"/><Relationship Id="rId5" Type="http://schemas.openxmlformats.org/officeDocument/2006/relationships/tags" Target="../tags/tag294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293.xml"/><Relationship Id="rId9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37.vml"/><Relationship Id="rId6" Type="http://schemas.openxmlformats.org/officeDocument/2006/relationships/tags" Target="../tags/tag302.xml"/><Relationship Id="rId11" Type="http://schemas.openxmlformats.org/officeDocument/2006/relationships/image" Target="../media/image2.emf"/><Relationship Id="rId5" Type="http://schemas.openxmlformats.org/officeDocument/2006/relationships/tags" Target="../tags/tag301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300.xml"/><Relationship Id="rId9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311.xml"/><Relationship Id="rId3" Type="http://schemas.openxmlformats.org/officeDocument/2006/relationships/tags" Target="../tags/tag306.xml"/><Relationship Id="rId7" Type="http://schemas.openxmlformats.org/officeDocument/2006/relationships/tags" Target="../tags/tag310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38.vml"/><Relationship Id="rId6" Type="http://schemas.openxmlformats.org/officeDocument/2006/relationships/tags" Target="../tags/tag309.xml"/><Relationship Id="rId11" Type="http://schemas.openxmlformats.org/officeDocument/2006/relationships/image" Target="../media/image2.emf"/><Relationship Id="rId5" Type="http://schemas.openxmlformats.org/officeDocument/2006/relationships/tags" Target="../tags/tag308.xml"/><Relationship Id="rId10" Type="http://schemas.openxmlformats.org/officeDocument/2006/relationships/oleObject" Target="../embeddings/oleObject38.bin"/><Relationship Id="rId4" Type="http://schemas.openxmlformats.org/officeDocument/2006/relationships/tags" Target="../tags/tag307.xml"/><Relationship Id="rId9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18.xml"/><Relationship Id="rId3" Type="http://schemas.openxmlformats.org/officeDocument/2006/relationships/tags" Target="../tags/tag313.xml"/><Relationship Id="rId7" Type="http://schemas.openxmlformats.org/officeDocument/2006/relationships/tags" Target="../tags/tag317.xml"/><Relationship Id="rId12" Type="http://schemas.openxmlformats.org/officeDocument/2006/relationships/image" Target="../media/image2.emf"/><Relationship Id="rId2" Type="http://schemas.openxmlformats.org/officeDocument/2006/relationships/tags" Target="../tags/tag312.xml"/><Relationship Id="rId1" Type="http://schemas.openxmlformats.org/officeDocument/2006/relationships/vmlDrawing" Target="../drawings/vmlDrawing39.vml"/><Relationship Id="rId6" Type="http://schemas.openxmlformats.org/officeDocument/2006/relationships/tags" Target="../tags/tag316.xml"/><Relationship Id="rId11" Type="http://schemas.openxmlformats.org/officeDocument/2006/relationships/oleObject" Target="../embeddings/oleObject39.bin"/><Relationship Id="rId5" Type="http://schemas.openxmlformats.org/officeDocument/2006/relationships/tags" Target="../tags/tag31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14.xml"/><Relationship Id="rId9" Type="http://schemas.openxmlformats.org/officeDocument/2006/relationships/tags" Target="../tags/tag319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13" Type="http://schemas.openxmlformats.org/officeDocument/2006/relationships/image" Target="../media/image3.emf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12" Type="http://schemas.openxmlformats.org/officeDocument/2006/relationships/oleObject" Target="../embeddings/oleObject40.bin"/><Relationship Id="rId2" Type="http://schemas.openxmlformats.org/officeDocument/2006/relationships/tags" Target="../tags/tag320.xml"/><Relationship Id="rId1" Type="http://schemas.openxmlformats.org/officeDocument/2006/relationships/vmlDrawing" Target="../drawings/vmlDrawing40.vml"/><Relationship Id="rId6" Type="http://schemas.openxmlformats.org/officeDocument/2006/relationships/tags" Target="../tags/tag324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323.xml"/><Relationship Id="rId10" Type="http://schemas.openxmlformats.org/officeDocument/2006/relationships/tags" Target="../tags/tag328.xml"/><Relationship Id="rId4" Type="http://schemas.openxmlformats.org/officeDocument/2006/relationships/tags" Target="../tags/tag322.xml"/><Relationship Id="rId9" Type="http://schemas.openxmlformats.org/officeDocument/2006/relationships/tags" Target="../tags/tag327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13" Type="http://schemas.openxmlformats.org/officeDocument/2006/relationships/image" Target="../media/image3.emf"/><Relationship Id="rId3" Type="http://schemas.openxmlformats.org/officeDocument/2006/relationships/tags" Target="../tags/tag330.xml"/><Relationship Id="rId7" Type="http://schemas.openxmlformats.org/officeDocument/2006/relationships/tags" Target="../tags/tag334.xml"/><Relationship Id="rId12" Type="http://schemas.openxmlformats.org/officeDocument/2006/relationships/oleObject" Target="../embeddings/oleObject41.bin"/><Relationship Id="rId2" Type="http://schemas.openxmlformats.org/officeDocument/2006/relationships/tags" Target="../tags/tag329.xml"/><Relationship Id="rId1" Type="http://schemas.openxmlformats.org/officeDocument/2006/relationships/vmlDrawing" Target="../drawings/vmlDrawing41.vml"/><Relationship Id="rId6" Type="http://schemas.openxmlformats.org/officeDocument/2006/relationships/tags" Target="../tags/tag333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332.xml"/><Relationship Id="rId10" Type="http://schemas.openxmlformats.org/officeDocument/2006/relationships/tags" Target="../tags/tag337.xml"/><Relationship Id="rId4" Type="http://schemas.openxmlformats.org/officeDocument/2006/relationships/tags" Target="../tags/tag331.xml"/><Relationship Id="rId9" Type="http://schemas.openxmlformats.org/officeDocument/2006/relationships/tags" Target="../tags/tag336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5.vml"/><Relationship Id="rId6" Type="http://schemas.openxmlformats.org/officeDocument/2006/relationships/tags" Target="../tags/tag50.xml"/><Relationship Id="rId11" Type="http://schemas.openxmlformats.org/officeDocument/2006/relationships/image" Target="../media/image2.emf"/><Relationship Id="rId5" Type="http://schemas.openxmlformats.org/officeDocument/2006/relationships/tags" Target="../tags/tag4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48.xml"/><Relationship Id="rId9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44.xml"/><Relationship Id="rId13" Type="http://schemas.openxmlformats.org/officeDocument/2006/relationships/image" Target="../media/image2.emf"/><Relationship Id="rId3" Type="http://schemas.openxmlformats.org/officeDocument/2006/relationships/tags" Target="../tags/tag339.xml"/><Relationship Id="rId7" Type="http://schemas.openxmlformats.org/officeDocument/2006/relationships/tags" Target="../tags/tag343.xml"/><Relationship Id="rId12" Type="http://schemas.openxmlformats.org/officeDocument/2006/relationships/oleObject" Target="../embeddings/oleObject42.bin"/><Relationship Id="rId2" Type="http://schemas.openxmlformats.org/officeDocument/2006/relationships/tags" Target="../tags/tag338.xml"/><Relationship Id="rId1" Type="http://schemas.openxmlformats.org/officeDocument/2006/relationships/vmlDrawing" Target="../drawings/vmlDrawing42.vml"/><Relationship Id="rId6" Type="http://schemas.openxmlformats.org/officeDocument/2006/relationships/tags" Target="../tags/tag342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341.xml"/><Relationship Id="rId10" Type="http://schemas.openxmlformats.org/officeDocument/2006/relationships/tags" Target="../tags/tag346.xml"/><Relationship Id="rId4" Type="http://schemas.openxmlformats.org/officeDocument/2006/relationships/tags" Target="../tags/tag340.xml"/><Relationship Id="rId9" Type="http://schemas.openxmlformats.org/officeDocument/2006/relationships/tags" Target="../tags/tag345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53.xml"/><Relationship Id="rId13" Type="http://schemas.openxmlformats.org/officeDocument/2006/relationships/image" Target="../media/image2.emf"/><Relationship Id="rId3" Type="http://schemas.openxmlformats.org/officeDocument/2006/relationships/tags" Target="../tags/tag348.xml"/><Relationship Id="rId7" Type="http://schemas.openxmlformats.org/officeDocument/2006/relationships/tags" Target="../tags/tag352.xml"/><Relationship Id="rId12" Type="http://schemas.openxmlformats.org/officeDocument/2006/relationships/oleObject" Target="../embeddings/oleObject43.bin"/><Relationship Id="rId2" Type="http://schemas.openxmlformats.org/officeDocument/2006/relationships/tags" Target="../tags/tag347.xml"/><Relationship Id="rId1" Type="http://schemas.openxmlformats.org/officeDocument/2006/relationships/vmlDrawing" Target="../drawings/vmlDrawing43.vml"/><Relationship Id="rId6" Type="http://schemas.openxmlformats.org/officeDocument/2006/relationships/tags" Target="../tags/tag351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350.xml"/><Relationship Id="rId10" Type="http://schemas.openxmlformats.org/officeDocument/2006/relationships/tags" Target="../tags/tag355.xml"/><Relationship Id="rId4" Type="http://schemas.openxmlformats.org/officeDocument/2006/relationships/tags" Target="../tags/tag349.xml"/><Relationship Id="rId9" Type="http://schemas.openxmlformats.org/officeDocument/2006/relationships/tags" Target="../tags/tag354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62.xml"/><Relationship Id="rId13" Type="http://schemas.openxmlformats.org/officeDocument/2006/relationships/image" Target="../media/image3.emf"/><Relationship Id="rId3" Type="http://schemas.openxmlformats.org/officeDocument/2006/relationships/tags" Target="../tags/tag357.xml"/><Relationship Id="rId7" Type="http://schemas.openxmlformats.org/officeDocument/2006/relationships/tags" Target="../tags/tag361.xml"/><Relationship Id="rId12" Type="http://schemas.openxmlformats.org/officeDocument/2006/relationships/oleObject" Target="../embeddings/oleObject44.bin"/><Relationship Id="rId2" Type="http://schemas.openxmlformats.org/officeDocument/2006/relationships/tags" Target="../tags/tag356.xml"/><Relationship Id="rId1" Type="http://schemas.openxmlformats.org/officeDocument/2006/relationships/vmlDrawing" Target="../drawings/vmlDrawing44.vml"/><Relationship Id="rId6" Type="http://schemas.openxmlformats.org/officeDocument/2006/relationships/tags" Target="../tags/tag360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359.xml"/><Relationship Id="rId10" Type="http://schemas.openxmlformats.org/officeDocument/2006/relationships/tags" Target="../tags/tag364.xml"/><Relationship Id="rId4" Type="http://schemas.openxmlformats.org/officeDocument/2006/relationships/tags" Target="../tags/tag358.xml"/><Relationship Id="rId9" Type="http://schemas.openxmlformats.org/officeDocument/2006/relationships/tags" Target="../tags/tag36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71.xml"/><Relationship Id="rId3" Type="http://schemas.openxmlformats.org/officeDocument/2006/relationships/tags" Target="../tags/tag366.xml"/><Relationship Id="rId7" Type="http://schemas.openxmlformats.org/officeDocument/2006/relationships/tags" Target="../tags/tag370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45.vml"/><Relationship Id="rId6" Type="http://schemas.openxmlformats.org/officeDocument/2006/relationships/tags" Target="../tags/tag369.xml"/><Relationship Id="rId11" Type="http://schemas.openxmlformats.org/officeDocument/2006/relationships/image" Target="../media/image1.emf"/><Relationship Id="rId5" Type="http://schemas.openxmlformats.org/officeDocument/2006/relationships/tags" Target="../tags/tag368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367.xml"/><Relationship Id="rId9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6.bin"/><Relationship Id="rId3" Type="http://schemas.openxmlformats.org/officeDocument/2006/relationships/tags" Target="../tags/tag37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72.xml"/><Relationship Id="rId1" Type="http://schemas.openxmlformats.org/officeDocument/2006/relationships/vmlDrawing" Target="../drawings/vmlDrawing46.vml"/><Relationship Id="rId6" Type="http://schemas.openxmlformats.org/officeDocument/2006/relationships/tags" Target="../tags/tag376.xml"/><Relationship Id="rId5" Type="http://schemas.openxmlformats.org/officeDocument/2006/relationships/tags" Target="../tags/tag375.xml"/><Relationship Id="rId4" Type="http://schemas.openxmlformats.org/officeDocument/2006/relationships/tags" Target="../tags/tag374.xml"/><Relationship Id="rId9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7" Type="http://schemas.openxmlformats.org/officeDocument/2006/relationships/image" Target="../media/image2.emf"/><Relationship Id="rId2" Type="http://schemas.openxmlformats.org/officeDocument/2006/relationships/tags" Target="../tags/tag377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79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381.xml"/><Relationship Id="rId7" Type="http://schemas.openxmlformats.org/officeDocument/2006/relationships/image" Target="../media/image4.emf"/><Relationship Id="rId2" Type="http://schemas.openxmlformats.org/officeDocument/2006/relationships/tags" Target="../tags/tag380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8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384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412.xml"/><Relationship Id="rId3" Type="http://schemas.openxmlformats.org/officeDocument/2006/relationships/tags" Target="../tags/tag407.xml"/><Relationship Id="rId7" Type="http://schemas.openxmlformats.org/officeDocument/2006/relationships/tags" Target="../tags/tag411.xml"/><Relationship Id="rId2" Type="http://schemas.openxmlformats.org/officeDocument/2006/relationships/tags" Target="../tags/tag406.xml"/><Relationship Id="rId1" Type="http://schemas.openxmlformats.org/officeDocument/2006/relationships/vmlDrawing" Target="../drawings/vmlDrawing51.vml"/><Relationship Id="rId6" Type="http://schemas.openxmlformats.org/officeDocument/2006/relationships/tags" Target="../tags/tag410.xml"/><Relationship Id="rId11" Type="http://schemas.openxmlformats.org/officeDocument/2006/relationships/image" Target="../media/image2.emf"/><Relationship Id="rId5" Type="http://schemas.openxmlformats.org/officeDocument/2006/relationships/tags" Target="../tags/tag409.xml"/><Relationship Id="rId10" Type="http://schemas.openxmlformats.org/officeDocument/2006/relationships/oleObject" Target="../embeddings/oleObject51.bin"/><Relationship Id="rId4" Type="http://schemas.openxmlformats.org/officeDocument/2006/relationships/tags" Target="../tags/tag408.xml"/><Relationship Id="rId9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tags" Target="../tags/tag57.xml"/><Relationship Id="rId11" Type="http://schemas.openxmlformats.org/officeDocument/2006/relationships/image" Target="../media/image2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419.xml"/><Relationship Id="rId3" Type="http://schemas.openxmlformats.org/officeDocument/2006/relationships/tags" Target="../tags/tag414.xml"/><Relationship Id="rId7" Type="http://schemas.openxmlformats.org/officeDocument/2006/relationships/tags" Target="../tags/tag418.xml"/><Relationship Id="rId2" Type="http://schemas.openxmlformats.org/officeDocument/2006/relationships/tags" Target="../tags/tag413.xml"/><Relationship Id="rId1" Type="http://schemas.openxmlformats.org/officeDocument/2006/relationships/vmlDrawing" Target="../drawings/vmlDrawing52.vml"/><Relationship Id="rId6" Type="http://schemas.openxmlformats.org/officeDocument/2006/relationships/tags" Target="../tags/tag417.xml"/><Relationship Id="rId11" Type="http://schemas.openxmlformats.org/officeDocument/2006/relationships/image" Target="../media/image1.emf"/><Relationship Id="rId5" Type="http://schemas.openxmlformats.org/officeDocument/2006/relationships/tags" Target="../tags/tag416.xml"/><Relationship Id="rId10" Type="http://schemas.openxmlformats.org/officeDocument/2006/relationships/oleObject" Target="../embeddings/oleObject52.bin"/><Relationship Id="rId4" Type="http://schemas.openxmlformats.org/officeDocument/2006/relationships/tags" Target="../tags/tag415.xml"/><Relationship Id="rId9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21.xml"/><Relationship Id="rId7" Type="http://schemas.openxmlformats.org/officeDocument/2006/relationships/tags" Target="../tags/tag425.xml"/><Relationship Id="rId2" Type="http://schemas.openxmlformats.org/officeDocument/2006/relationships/tags" Target="../tags/tag420.xml"/><Relationship Id="rId1" Type="http://schemas.openxmlformats.org/officeDocument/2006/relationships/vmlDrawing" Target="../drawings/vmlDrawing53.vml"/><Relationship Id="rId6" Type="http://schemas.openxmlformats.org/officeDocument/2006/relationships/tags" Target="../tags/tag424.xml"/><Relationship Id="rId5" Type="http://schemas.openxmlformats.org/officeDocument/2006/relationships/tags" Target="../tags/tag423.xml"/><Relationship Id="rId10" Type="http://schemas.openxmlformats.org/officeDocument/2006/relationships/image" Target="../media/image2.emf"/><Relationship Id="rId4" Type="http://schemas.openxmlformats.org/officeDocument/2006/relationships/tags" Target="../tags/tag422.xml"/><Relationship Id="rId9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432.xml"/><Relationship Id="rId3" Type="http://schemas.openxmlformats.org/officeDocument/2006/relationships/tags" Target="../tags/tag427.xml"/><Relationship Id="rId7" Type="http://schemas.openxmlformats.org/officeDocument/2006/relationships/tags" Target="../tags/tag431.xml"/><Relationship Id="rId2" Type="http://schemas.openxmlformats.org/officeDocument/2006/relationships/tags" Target="../tags/tag426.xml"/><Relationship Id="rId1" Type="http://schemas.openxmlformats.org/officeDocument/2006/relationships/vmlDrawing" Target="../drawings/vmlDrawing54.vml"/><Relationship Id="rId6" Type="http://schemas.openxmlformats.org/officeDocument/2006/relationships/tags" Target="../tags/tag430.xml"/><Relationship Id="rId11" Type="http://schemas.openxmlformats.org/officeDocument/2006/relationships/image" Target="../media/image2.emf"/><Relationship Id="rId5" Type="http://schemas.openxmlformats.org/officeDocument/2006/relationships/tags" Target="../tags/tag429.xml"/><Relationship Id="rId10" Type="http://schemas.openxmlformats.org/officeDocument/2006/relationships/oleObject" Target="../embeddings/oleObject54.bin"/><Relationship Id="rId4" Type="http://schemas.openxmlformats.org/officeDocument/2006/relationships/tags" Target="../tags/tag428.xml"/><Relationship Id="rId9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34.xml"/><Relationship Id="rId7" Type="http://schemas.openxmlformats.org/officeDocument/2006/relationships/tags" Target="../tags/tag438.xml"/><Relationship Id="rId2" Type="http://schemas.openxmlformats.org/officeDocument/2006/relationships/tags" Target="../tags/tag433.xml"/><Relationship Id="rId1" Type="http://schemas.openxmlformats.org/officeDocument/2006/relationships/vmlDrawing" Target="../drawings/vmlDrawing55.vml"/><Relationship Id="rId6" Type="http://schemas.openxmlformats.org/officeDocument/2006/relationships/tags" Target="../tags/tag437.xml"/><Relationship Id="rId5" Type="http://schemas.openxmlformats.org/officeDocument/2006/relationships/tags" Target="../tags/tag436.xml"/><Relationship Id="rId10" Type="http://schemas.openxmlformats.org/officeDocument/2006/relationships/image" Target="../media/image2.emf"/><Relationship Id="rId4" Type="http://schemas.openxmlformats.org/officeDocument/2006/relationships/tags" Target="../tags/tag435.xml"/><Relationship Id="rId9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445.xml"/><Relationship Id="rId3" Type="http://schemas.openxmlformats.org/officeDocument/2006/relationships/tags" Target="../tags/tag440.xml"/><Relationship Id="rId7" Type="http://schemas.openxmlformats.org/officeDocument/2006/relationships/tags" Target="../tags/tag444.xml"/><Relationship Id="rId2" Type="http://schemas.openxmlformats.org/officeDocument/2006/relationships/tags" Target="../tags/tag439.xml"/><Relationship Id="rId1" Type="http://schemas.openxmlformats.org/officeDocument/2006/relationships/vmlDrawing" Target="../drawings/vmlDrawing56.vml"/><Relationship Id="rId6" Type="http://schemas.openxmlformats.org/officeDocument/2006/relationships/tags" Target="../tags/tag443.xml"/><Relationship Id="rId11" Type="http://schemas.openxmlformats.org/officeDocument/2006/relationships/image" Target="../media/image2.emf"/><Relationship Id="rId5" Type="http://schemas.openxmlformats.org/officeDocument/2006/relationships/tags" Target="../tags/tag442.xml"/><Relationship Id="rId10" Type="http://schemas.openxmlformats.org/officeDocument/2006/relationships/oleObject" Target="../embeddings/oleObject56.bin"/><Relationship Id="rId4" Type="http://schemas.openxmlformats.org/officeDocument/2006/relationships/tags" Target="../tags/tag441.xml"/><Relationship Id="rId9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452.xml"/><Relationship Id="rId3" Type="http://schemas.openxmlformats.org/officeDocument/2006/relationships/tags" Target="../tags/tag447.xml"/><Relationship Id="rId7" Type="http://schemas.openxmlformats.org/officeDocument/2006/relationships/tags" Target="../tags/tag451.xml"/><Relationship Id="rId12" Type="http://schemas.openxmlformats.org/officeDocument/2006/relationships/image" Target="../media/image3.emf"/><Relationship Id="rId2" Type="http://schemas.openxmlformats.org/officeDocument/2006/relationships/tags" Target="../tags/tag446.xml"/><Relationship Id="rId1" Type="http://schemas.openxmlformats.org/officeDocument/2006/relationships/vmlDrawing" Target="../drawings/vmlDrawing57.vml"/><Relationship Id="rId6" Type="http://schemas.openxmlformats.org/officeDocument/2006/relationships/tags" Target="../tags/tag450.xml"/><Relationship Id="rId11" Type="http://schemas.openxmlformats.org/officeDocument/2006/relationships/oleObject" Target="../embeddings/oleObject57.bin"/><Relationship Id="rId5" Type="http://schemas.openxmlformats.org/officeDocument/2006/relationships/tags" Target="../tags/tag449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48.xml"/><Relationship Id="rId9" Type="http://schemas.openxmlformats.org/officeDocument/2006/relationships/tags" Target="../tags/tag453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460.xml"/><Relationship Id="rId3" Type="http://schemas.openxmlformats.org/officeDocument/2006/relationships/tags" Target="../tags/tag455.xml"/><Relationship Id="rId7" Type="http://schemas.openxmlformats.org/officeDocument/2006/relationships/tags" Target="../tags/tag459.xml"/><Relationship Id="rId12" Type="http://schemas.openxmlformats.org/officeDocument/2006/relationships/image" Target="../media/image3.emf"/><Relationship Id="rId2" Type="http://schemas.openxmlformats.org/officeDocument/2006/relationships/tags" Target="../tags/tag454.xml"/><Relationship Id="rId1" Type="http://schemas.openxmlformats.org/officeDocument/2006/relationships/vmlDrawing" Target="../drawings/vmlDrawing58.vml"/><Relationship Id="rId6" Type="http://schemas.openxmlformats.org/officeDocument/2006/relationships/tags" Target="../tags/tag458.xml"/><Relationship Id="rId11" Type="http://schemas.openxmlformats.org/officeDocument/2006/relationships/oleObject" Target="../embeddings/oleObject58.bin"/><Relationship Id="rId5" Type="http://schemas.openxmlformats.org/officeDocument/2006/relationships/tags" Target="../tags/tag457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56.xml"/><Relationship Id="rId9" Type="http://schemas.openxmlformats.org/officeDocument/2006/relationships/tags" Target="../tags/tag461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468.xml"/><Relationship Id="rId3" Type="http://schemas.openxmlformats.org/officeDocument/2006/relationships/tags" Target="../tags/tag463.xml"/><Relationship Id="rId7" Type="http://schemas.openxmlformats.org/officeDocument/2006/relationships/tags" Target="../tags/tag467.xml"/><Relationship Id="rId12" Type="http://schemas.openxmlformats.org/officeDocument/2006/relationships/image" Target="../media/image2.emf"/><Relationship Id="rId2" Type="http://schemas.openxmlformats.org/officeDocument/2006/relationships/tags" Target="../tags/tag462.xml"/><Relationship Id="rId1" Type="http://schemas.openxmlformats.org/officeDocument/2006/relationships/vmlDrawing" Target="../drawings/vmlDrawing59.vml"/><Relationship Id="rId6" Type="http://schemas.openxmlformats.org/officeDocument/2006/relationships/tags" Target="../tags/tag466.xml"/><Relationship Id="rId11" Type="http://schemas.openxmlformats.org/officeDocument/2006/relationships/oleObject" Target="../embeddings/oleObject59.bin"/><Relationship Id="rId5" Type="http://schemas.openxmlformats.org/officeDocument/2006/relationships/tags" Target="../tags/tag465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64.xml"/><Relationship Id="rId9" Type="http://schemas.openxmlformats.org/officeDocument/2006/relationships/tags" Target="../tags/tag469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476.xml"/><Relationship Id="rId3" Type="http://schemas.openxmlformats.org/officeDocument/2006/relationships/tags" Target="../tags/tag471.xml"/><Relationship Id="rId7" Type="http://schemas.openxmlformats.org/officeDocument/2006/relationships/tags" Target="../tags/tag475.xml"/><Relationship Id="rId12" Type="http://schemas.openxmlformats.org/officeDocument/2006/relationships/image" Target="../media/image2.emf"/><Relationship Id="rId2" Type="http://schemas.openxmlformats.org/officeDocument/2006/relationships/tags" Target="../tags/tag470.xml"/><Relationship Id="rId1" Type="http://schemas.openxmlformats.org/officeDocument/2006/relationships/vmlDrawing" Target="../drawings/vmlDrawing60.vml"/><Relationship Id="rId6" Type="http://schemas.openxmlformats.org/officeDocument/2006/relationships/tags" Target="../tags/tag474.xml"/><Relationship Id="rId11" Type="http://schemas.openxmlformats.org/officeDocument/2006/relationships/oleObject" Target="../embeddings/oleObject60.bin"/><Relationship Id="rId5" Type="http://schemas.openxmlformats.org/officeDocument/2006/relationships/tags" Target="../tags/tag473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72.xml"/><Relationship Id="rId9" Type="http://schemas.openxmlformats.org/officeDocument/2006/relationships/tags" Target="../tags/tag477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484.xml"/><Relationship Id="rId3" Type="http://schemas.openxmlformats.org/officeDocument/2006/relationships/tags" Target="../tags/tag479.xml"/><Relationship Id="rId7" Type="http://schemas.openxmlformats.org/officeDocument/2006/relationships/tags" Target="../tags/tag483.xml"/><Relationship Id="rId12" Type="http://schemas.openxmlformats.org/officeDocument/2006/relationships/image" Target="../media/image3.emf"/><Relationship Id="rId2" Type="http://schemas.openxmlformats.org/officeDocument/2006/relationships/tags" Target="../tags/tag478.xml"/><Relationship Id="rId1" Type="http://schemas.openxmlformats.org/officeDocument/2006/relationships/vmlDrawing" Target="../drawings/vmlDrawing61.vml"/><Relationship Id="rId6" Type="http://schemas.openxmlformats.org/officeDocument/2006/relationships/tags" Target="../tags/tag482.xml"/><Relationship Id="rId11" Type="http://schemas.openxmlformats.org/officeDocument/2006/relationships/oleObject" Target="../embeddings/oleObject61.bin"/><Relationship Id="rId5" Type="http://schemas.openxmlformats.org/officeDocument/2006/relationships/tags" Target="../tags/tag481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80.xml"/><Relationship Id="rId9" Type="http://schemas.openxmlformats.org/officeDocument/2006/relationships/tags" Target="../tags/tag48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7.vml"/><Relationship Id="rId6" Type="http://schemas.openxmlformats.org/officeDocument/2006/relationships/tags" Target="../tags/tag64.xml"/><Relationship Id="rId11" Type="http://schemas.openxmlformats.org/officeDocument/2006/relationships/image" Target="../media/image2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87.xml"/><Relationship Id="rId7" Type="http://schemas.openxmlformats.org/officeDocument/2006/relationships/tags" Target="../tags/tag491.xml"/><Relationship Id="rId2" Type="http://schemas.openxmlformats.org/officeDocument/2006/relationships/tags" Target="../tags/tag486.xml"/><Relationship Id="rId1" Type="http://schemas.openxmlformats.org/officeDocument/2006/relationships/vmlDrawing" Target="../drawings/vmlDrawing62.vml"/><Relationship Id="rId6" Type="http://schemas.openxmlformats.org/officeDocument/2006/relationships/tags" Target="../tags/tag490.xml"/><Relationship Id="rId5" Type="http://schemas.openxmlformats.org/officeDocument/2006/relationships/tags" Target="../tags/tag489.xml"/><Relationship Id="rId10" Type="http://schemas.openxmlformats.org/officeDocument/2006/relationships/image" Target="../media/image1.emf"/><Relationship Id="rId4" Type="http://schemas.openxmlformats.org/officeDocument/2006/relationships/tags" Target="../tags/tag488.xml"/><Relationship Id="rId9" Type="http://schemas.openxmlformats.org/officeDocument/2006/relationships/oleObject" Target="../embeddings/oleObject62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93.xml"/><Relationship Id="rId7" Type="http://schemas.openxmlformats.org/officeDocument/2006/relationships/oleObject" Target="../embeddings/oleObject63.bin"/><Relationship Id="rId2" Type="http://schemas.openxmlformats.org/officeDocument/2006/relationships/tags" Target="../tags/tag492.xml"/><Relationship Id="rId1" Type="http://schemas.openxmlformats.org/officeDocument/2006/relationships/vmlDrawing" Target="../drawings/vmlDrawing63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95.xml"/><Relationship Id="rId4" Type="http://schemas.openxmlformats.org/officeDocument/2006/relationships/tags" Target="../tags/tag49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497.xml"/><Relationship Id="rId7" Type="http://schemas.openxmlformats.org/officeDocument/2006/relationships/image" Target="../media/image2.emf"/><Relationship Id="rId2" Type="http://schemas.openxmlformats.org/officeDocument/2006/relationships/tags" Target="../tags/tag496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98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527.xml"/><Relationship Id="rId3" Type="http://schemas.openxmlformats.org/officeDocument/2006/relationships/tags" Target="../tags/tag522.xml"/><Relationship Id="rId7" Type="http://schemas.openxmlformats.org/officeDocument/2006/relationships/tags" Target="../tags/tag526.xml"/><Relationship Id="rId2" Type="http://schemas.openxmlformats.org/officeDocument/2006/relationships/tags" Target="../tags/tag521.xml"/><Relationship Id="rId1" Type="http://schemas.openxmlformats.org/officeDocument/2006/relationships/vmlDrawing" Target="../drawings/vmlDrawing66.vml"/><Relationship Id="rId6" Type="http://schemas.openxmlformats.org/officeDocument/2006/relationships/tags" Target="../tags/tag525.xml"/><Relationship Id="rId11" Type="http://schemas.openxmlformats.org/officeDocument/2006/relationships/image" Target="../media/image2.emf"/><Relationship Id="rId5" Type="http://schemas.openxmlformats.org/officeDocument/2006/relationships/tags" Target="../tags/tag524.xml"/><Relationship Id="rId10" Type="http://schemas.openxmlformats.org/officeDocument/2006/relationships/oleObject" Target="../embeddings/oleObject66.bin"/><Relationship Id="rId4" Type="http://schemas.openxmlformats.org/officeDocument/2006/relationships/tags" Target="../tags/tag523.xml"/><Relationship Id="rId9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534.xml"/><Relationship Id="rId3" Type="http://schemas.openxmlformats.org/officeDocument/2006/relationships/tags" Target="../tags/tag529.xml"/><Relationship Id="rId7" Type="http://schemas.openxmlformats.org/officeDocument/2006/relationships/tags" Target="../tags/tag533.xml"/><Relationship Id="rId2" Type="http://schemas.openxmlformats.org/officeDocument/2006/relationships/tags" Target="../tags/tag528.xml"/><Relationship Id="rId1" Type="http://schemas.openxmlformats.org/officeDocument/2006/relationships/vmlDrawing" Target="../drawings/vmlDrawing67.vml"/><Relationship Id="rId6" Type="http://schemas.openxmlformats.org/officeDocument/2006/relationships/tags" Target="../tags/tag532.xml"/><Relationship Id="rId11" Type="http://schemas.openxmlformats.org/officeDocument/2006/relationships/image" Target="../media/image2.emf"/><Relationship Id="rId5" Type="http://schemas.openxmlformats.org/officeDocument/2006/relationships/tags" Target="../tags/tag531.xml"/><Relationship Id="rId10" Type="http://schemas.openxmlformats.org/officeDocument/2006/relationships/oleObject" Target="../embeddings/oleObject67.bin"/><Relationship Id="rId4" Type="http://schemas.openxmlformats.org/officeDocument/2006/relationships/tags" Target="../tags/tag530.xml"/><Relationship Id="rId9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541.xml"/><Relationship Id="rId3" Type="http://schemas.openxmlformats.org/officeDocument/2006/relationships/tags" Target="../tags/tag536.xml"/><Relationship Id="rId7" Type="http://schemas.openxmlformats.org/officeDocument/2006/relationships/tags" Target="../tags/tag540.xml"/><Relationship Id="rId12" Type="http://schemas.openxmlformats.org/officeDocument/2006/relationships/image" Target="../media/image1.emf"/><Relationship Id="rId2" Type="http://schemas.openxmlformats.org/officeDocument/2006/relationships/tags" Target="../tags/tag535.xml"/><Relationship Id="rId1" Type="http://schemas.openxmlformats.org/officeDocument/2006/relationships/vmlDrawing" Target="../drawings/vmlDrawing68.vml"/><Relationship Id="rId6" Type="http://schemas.openxmlformats.org/officeDocument/2006/relationships/tags" Target="../tags/tag539.xml"/><Relationship Id="rId11" Type="http://schemas.openxmlformats.org/officeDocument/2006/relationships/oleObject" Target="../embeddings/oleObject68.bin"/><Relationship Id="rId5" Type="http://schemas.openxmlformats.org/officeDocument/2006/relationships/tags" Target="../tags/tag538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37.xml"/><Relationship Id="rId9" Type="http://schemas.openxmlformats.org/officeDocument/2006/relationships/tags" Target="../tags/tag542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549.xml"/><Relationship Id="rId3" Type="http://schemas.openxmlformats.org/officeDocument/2006/relationships/tags" Target="../tags/tag544.xml"/><Relationship Id="rId7" Type="http://schemas.openxmlformats.org/officeDocument/2006/relationships/tags" Target="../tags/tag548.xml"/><Relationship Id="rId2" Type="http://schemas.openxmlformats.org/officeDocument/2006/relationships/tags" Target="../tags/tag543.xml"/><Relationship Id="rId1" Type="http://schemas.openxmlformats.org/officeDocument/2006/relationships/vmlDrawing" Target="../drawings/vmlDrawing69.vml"/><Relationship Id="rId6" Type="http://schemas.openxmlformats.org/officeDocument/2006/relationships/tags" Target="../tags/tag547.xml"/><Relationship Id="rId11" Type="http://schemas.openxmlformats.org/officeDocument/2006/relationships/image" Target="../media/image2.emf"/><Relationship Id="rId5" Type="http://schemas.openxmlformats.org/officeDocument/2006/relationships/tags" Target="../tags/tag546.xml"/><Relationship Id="rId10" Type="http://schemas.openxmlformats.org/officeDocument/2006/relationships/oleObject" Target="../embeddings/oleObject69.bin"/><Relationship Id="rId4" Type="http://schemas.openxmlformats.org/officeDocument/2006/relationships/tags" Target="../tags/tag545.xml"/><Relationship Id="rId9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556.xml"/><Relationship Id="rId3" Type="http://schemas.openxmlformats.org/officeDocument/2006/relationships/tags" Target="../tags/tag551.xml"/><Relationship Id="rId7" Type="http://schemas.openxmlformats.org/officeDocument/2006/relationships/tags" Target="../tags/tag555.xml"/><Relationship Id="rId2" Type="http://schemas.openxmlformats.org/officeDocument/2006/relationships/tags" Target="../tags/tag550.xml"/><Relationship Id="rId1" Type="http://schemas.openxmlformats.org/officeDocument/2006/relationships/vmlDrawing" Target="../drawings/vmlDrawing70.vml"/><Relationship Id="rId6" Type="http://schemas.openxmlformats.org/officeDocument/2006/relationships/tags" Target="../tags/tag554.xml"/><Relationship Id="rId11" Type="http://schemas.openxmlformats.org/officeDocument/2006/relationships/image" Target="../media/image2.emf"/><Relationship Id="rId5" Type="http://schemas.openxmlformats.org/officeDocument/2006/relationships/tags" Target="../tags/tag553.xml"/><Relationship Id="rId10" Type="http://schemas.openxmlformats.org/officeDocument/2006/relationships/oleObject" Target="../embeddings/oleObject70.bin"/><Relationship Id="rId4" Type="http://schemas.openxmlformats.org/officeDocument/2006/relationships/tags" Target="../tags/tag552.xml"/><Relationship Id="rId9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563.xml"/><Relationship Id="rId3" Type="http://schemas.openxmlformats.org/officeDocument/2006/relationships/tags" Target="../tags/tag558.xml"/><Relationship Id="rId7" Type="http://schemas.openxmlformats.org/officeDocument/2006/relationships/tags" Target="../tags/tag562.xml"/><Relationship Id="rId2" Type="http://schemas.openxmlformats.org/officeDocument/2006/relationships/tags" Target="../tags/tag557.xml"/><Relationship Id="rId1" Type="http://schemas.openxmlformats.org/officeDocument/2006/relationships/vmlDrawing" Target="../drawings/vmlDrawing71.vml"/><Relationship Id="rId6" Type="http://schemas.openxmlformats.org/officeDocument/2006/relationships/tags" Target="../tags/tag561.xml"/><Relationship Id="rId11" Type="http://schemas.openxmlformats.org/officeDocument/2006/relationships/image" Target="../media/image2.emf"/><Relationship Id="rId5" Type="http://schemas.openxmlformats.org/officeDocument/2006/relationships/tags" Target="../tags/tag560.xml"/><Relationship Id="rId10" Type="http://schemas.openxmlformats.org/officeDocument/2006/relationships/oleObject" Target="../embeddings/oleObject71.bin"/><Relationship Id="rId4" Type="http://schemas.openxmlformats.org/officeDocument/2006/relationships/tags" Target="../tags/tag559.xml"/><Relationship Id="rId9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tags" Target="../tags/tag570.xml"/><Relationship Id="rId3" Type="http://schemas.openxmlformats.org/officeDocument/2006/relationships/tags" Target="../tags/tag565.xml"/><Relationship Id="rId7" Type="http://schemas.openxmlformats.org/officeDocument/2006/relationships/tags" Target="../tags/tag569.xml"/><Relationship Id="rId12" Type="http://schemas.openxmlformats.org/officeDocument/2006/relationships/image" Target="../media/image2.emf"/><Relationship Id="rId2" Type="http://schemas.openxmlformats.org/officeDocument/2006/relationships/tags" Target="../tags/tag564.xml"/><Relationship Id="rId1" Type="http://schemas.openxmlformats.org/officeDocument/2006/relationships/vmlDrawing" Target="../drawings/vmlDrawing72.vml"/><Relationship Id="rId6" Type="http://schemas.openxmlformats.org/officeDocument/2006/relationships/tags" Target="../tags/tag568.xml"/><Relationship Id="rId11" Type="http://schemas.openxmlformats.org/officeDocument/2006/relationships/oleObject" Target="../embeddings/oleObject72.bin"/><Relationship Id="rId5" Type="http://schemas.openxmlformats.org/officeDocument/2006/relationships/tags" Target="../tags/tag567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66.xml"/><Relationship Id="rId9" Type="http://schemas.openxmlformats.org/officeDocument/2006/relationships/tags" Target="../tags/tag57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2.emf"/><Relationship Id="rId2" Type="http://schemas.openxmlformats.org/officeDocument/2006/relationships/tags" Target="../tags/tag67.xml"/><Relationship Id="rId1" Type="http://schemas.openxmlformats.org/officeDocument/2006/relationships/vmlDrawing" Target="../drawings/vmlDrawing8.vml"/><Relationship Id="rId6" Type="http://schemas.openxmlformats.org/officeDocument/2006/relationships/tags" Target="../tags/tag7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7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578.xml"/><Relationship Id="rId13" Type="http://schemas.openxmlformats.org/officeDocument/2006/relationships/image" Target="../media/image3.emf"/><Relationship Id="rId3" Type="http://schemas.openxmlformats.org/officeDocument/2006/relationships/tags" Target="../tags/tag573.xml"/><Relationship Id="rId7" Type="http://schemas.openxmlformats.org/officeDocument/2006/relationships/tags" Target="../tags/tag577.xml"/><Relationship Id="rId12" Type="http://schemas.openxmlformats.org/officeDocument/2006/relationships/oleObject" Target="../embeddings/oleObject73.bin"/><Relationship Id="rId2" Type="http://schemas.openxmlformats.org/officeDocument/2006/relationships/tags" Target="../tags/tag572.xml"/><Relationship Id="rId1" Type="http://schemas.openxmlformats.org/officeDocument/2006/relationships/vmlDrawing" Target="../drawings/vmlDrawing73.vml"/><Relationship Id="rId6" Type="http://schemas.openxmlformats.org/officeDocument/2006/relationships/tags" Target="../tags/tag576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575.xml"/><Relationship Id="rId10" Type="http://schemas.openxmlformats.org/officeDocument/2006/relationships/tags" Target="../tags/tag580.xml"/><Relationship Id="rId4" Type="http://schemas.openxmlformats.org/officeDocument/2006/relationships/tags" Target="../tags/tag574.xml"/><Relationship Id="rId9" Type="http://schemas.openxmlformats.org/officeDocument/2006/relationships/tags" Target="../tags/tag579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587.xml"/><Relationship Id="rId13" Type="http://schemas.openxmlformats.org/officeDocument/2006/relationships/image" Target="../media/image3.emf"/><Relationship Id="rId3" Type="http://schemas.openxmlformats.org/officeDocument/2006/relationships/tags" Target="../tags/tag582.xml"/><Relationship Id="rId7" Type="http://schemas.openxmlformats.org/officeDocument/2006/relationships/tags" Target="../tags/tag586.xml"/><Relationship Id="rId12" Type="http://schemas.openxmlformats.org/officeDocument/2006/relationships/oleObject" Target="../embeddings/oleObject74.bin"/><Relationship Id="rId2" Type="http://schemas.openxmlformats.org/officeDocument/2006/relationships/tags" Target="../tags/tag581.xml"/><Relationship Id="rId1" Type="http://schemas.openxmlformats.org/officeDocument/2006/relationships/vmlDrawing" Target="../drawings/vmlDrawing74.vml"/><Relationship Id="rId6" Type="http://schemas.openxmlformats.org/officeDocument/2006/relationships/tags" Target="../tags/tag585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584.xml"/><Relationship Id="rId10" Type="http://schemas.openxmlformats.org/officeDocument/2006/relationships/tags" Target="../tags/tag589.xml"/><Relationship Id="rId4" Type="http://schemas.openxmlformats.org/officeDocument/2006/relationships/tags" Target="../tags/tag583.xml"/><Relationship Id="rId9" Type="http://schemas.openxmlformats.org/officeDocument/2006/relationships/tags" Target="../tags/tag588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596.xml"/><Relationship Id="rId13" Type="http://schemas.openxmlformats.org/officeDocument/2006/relationships/image" Target="../media/image2.emf"/><Relationship Id="rId3" Type="http://schemas.openxmlformats.org/officeDocument/2006/relationships/tags" Target="../tags/tag591.xml"/><Relationship Id="rId7" Type="http://schemas.openxmlformats.org/officeDocument/2006/relationships/tags" Target="../tags/tag595.xml"/><Relationship Id="rId12" Type="http://schemas.openxmlformats.org/officeDocument/2006/relationships/oleObject" Target="../embeddings/oleObject75.bin"/><Relationship Id="rId2" Type="http://schemas.openxmlformats.org/officeDocument/2006/relationships/tags" Target="../tags/tag590.xml"/><Relationship Id="rId1" Type="http://schemas.openxmlformats.org/officeDocument/2006/relationships/vmlDrawing" Target="../drawings/vmlDrawing75.vml"/><Relationship Id="rId6" Type="http://schemas.openxmlformats.org/officeDocument/2006/relationships/tags" Target="../tags/tag594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593.xml"/><Relationship Id="rId10" Type="http://schemas.openxmlformats.org/officeDocument/2006/relationships/tags" Target="../tags/tag598.xml"/><Relationship Id="rId4" Type="http://schemas.openxmlformats.org/officeDocument/2006/relationships/tags" Target="../tags/tag592.xml"/><Relationship Id="rId9" Type="http://schemas.openxmlformats.org/officeDocument/2006/relationships/tags" Target="../tags/tag597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605.xml"/><Relationship Id="rId13" Type="http://schemas.openxmlformats.org/officeDocument/2006/relationships/image" Target="../media/image2.emf"/><Relationship Id="rId3" Type="http://schemas.openxmlformats.org/officeDocument/2006/relationships/tags" Target="../tags/tag600.xml"/><Relationship Id="rId7" Type="http://schemas.openxmlformats.org/officeDocument/2006/relationships/tags" Target="../tags/tag604.xml"/><Relationship Id="rId12" Type="http://schemas.openxmlformats.org/officeDocument/2006/relationships/oleObject" Target="../embeddings/oleObject76.bin"/><Relationship Id="rId2" Type="http://schemas.openxmlformats.org/officeDocument/2006/relationships/tags" Target="../tags/tag599.xml"/><Relationship Id="rId1" Type="http://schemas.openxmlformats.org/officeDocument/2006/relationships/vmlDrawing" Target="../drawings/vmlDrawing76.vml"/><Relationship Id="rId6" Type="http://schemas.openxmlformats.org/officeDocument/2006/relationships/tags" Target="../tags/tag603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602.xml"/><Relationship Id="rId10" Type="http://schemas.openxmlformats.org/officeDocument/2006/relationships/tags" Target="../tags/tag607.xml"/><Relationship Id="rId4" Type="http://schemas.openxmlformats.org/officeDocument/2006/relationships/tags" Target="../tags/tag601.xml"/><Relationship Id="rId9" Type="http://schemas.openxmlformats.org/officeDocument/2006/relationships/tags" Target="../tags/tag606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614.xml"/><Relationship Id="rId13" Type="http://schemas.openxmlformats.org/officeDocument/2006/relationships/image" Target="../media/image3.emf"/><Relationship Id="rId3" Type="http://schemas.openxmlformats.org/officeDocument/2006/relationships/tags" Target="../tags/tag609.xml"/><Relationship Id="rId7" Type="http://schemas.openxmlformats.org/officeDocument/2006/relationships/tags" Target="../tags/tag613.xml"/><Relationship Id="rId12" Type="http://schemas.openxmlformats.org/officeDocument/2006/relationships/oleObject" Target="../embeddings/oleObject77.bin"/><Relationship Id="rId2" Type="http://schemas.openxmlformats.org/officeDocument/2006/relationships/tags" Target="../tags/tag608.xml"/><Relationship Id="rId1" Type="http://schemas.openxmlformats.org/officeDocument/2006/relationships/vmlDrawing" Target="../drawings/vmlDrawing77.vml"/><Relationship Id="rId6" Type="http://schemas.openxmlformats.org/officeDocument/2006/relationships/tags" Target="../tags/tag612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611.xml"/><Relationship Id="rId10" Type="http://schemas.openxmlformats.org/officeDocument/2006/relationships/tags" Target="../tags/tag616.xml"/><Relationship Id="rId4" Type="http://schemas.openxmlformats.org/officeDocument/2006/relationships/tags" Target="../tags/tag610.xml"/><Relationship Id="rId9" Type="http://schemas.openxmlformats.org/officeDocument/2006/relationships/tags" Target="../tags/tag615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623.xml"/><Relationship Id="rId3" Type="http://schemas.openxmlformats.org/officeDocument/2006/relationships/tags" Target="../tags/tag618.xml"/><Relationship Id="rId7" Type="http://schemas.openxmlformats.org/officeDocument/2006/relationships/tags" Target="../tags/tag622.xml"/><Relationship Id="rId2" Type="http://schemas.openxmlformats.org/officeDocument/2006/relationships/tags" Target="../tags/tag617.xml"/><Relationship Id="rId1" Type="http://schemas.openxmlformats.org/officeDocument/2006/relationships/vmlDrawing" Target="../drawings/vmlDrawing78.vml"/><Relationship Id="rId6" Type="http://schemas.openxmlformats.org/officeDocument/2006/relationships/tags" Target="../tags/tag621.xml"/><Relationship Id="rId11" Type="http://schemas.openxmlformats.org/officeDocument/2006/relationships/image" Target="../media/image1.emf"/><Relationship Id="rId5" Type="http://schemas.openxmlformats.org/officeDocument/2006/relationships/tags" Target="../tags/tag620.xml"/><Relationship Id="rId10" Type="http://schemas.openxmlformats.org/officeDocument/2006/relationships/oleObject" Target="../embeddings/oleObject78.bin"/><Relationship Id="rId4" Type="http://schemas.openxmlformats.org/officeDocument/2006/relationships/tags" Target="../tags/tag619.xml"/><Relationship Id="rId9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9.bin"/><Relationship Id="rId3" Type="http://schemas.openxmlformats.org/officeDocument/2006/relationships/tags" Target="../tags/tag625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24.xml"/><Relationship Id="rId1" Type="http://schemas.openxmlformats.org/officeDocument/2006/relationships/vmlDrawing" Target="../drawings/vmlDrawing79.vml"/><Relationship Id="rId6" Type="http://schemas.openxmlformats.org/officeDocument/2006/relationships/tags" Target="../tags/tag628.xml"/><Relationship Id="rId5" Type="http://schemas.openxmlformats.org/officeDocument/2006/relationships/tags" Target="../tags/tag627.xml"/><Relationship Id="rId4" Type="http://schemas.openxmlformats.org/officeDocument/2006/relationships/tags" Target="../tags/tag626.xml"/><Relationship Id="rId9" Type="http://schemas.openxmlformats.org/officeDocument/2006/relationships/image" Target="../media/image2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630.xml"/><Relationship Id="rId7" Type="http://schemas.openxmlformats.org/officeDocument/2006/relationships/image" Target="../media/image2.emf"/><Relationship Id="rId2" Type="http://schemas.openxmlformats.org/officeDocument/2006/relationships/tags" Target="../tags/tag629.xml"/><Relationship Id="rId1" Type="http://schemas.openxmlformats.org/officeDocument/2006/relationships/vmlDrawing" Target="../drawings/vmlDrawing80.vml"/><Relationship Id="rId6" Type="http://schemas.openxmlformats.org/officeDocument/2006/relationships/oleObject" Target="../embeddings/oleObject80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3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image" Target="../media/image3.emf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oleObject" Target="../embeddings/oleObject9.bin"/><Relationship Id="rId2" Type="http://schemas.openxmlformats.org/officeDocument/2006/relationships/tags" Target="../tags/tag75.xml"/><Relationship Id="rId1" Type="http://schemas.openxmlformats.org/officeDocument/2006/relationships/vmlDrawing" Target="../drawings/vmlDrawing9.vml"/><Relationship Id="rId6" Type="http://schemas.openxmlformats.org/officeDocument/2006/relationships/tags" Target="../tags/tag7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659.xml"/><Relationship Id="rId3" Type="http://schemas.openxmlformats.org/officeDocument/2006/relationships/tags" Target="../tags/tag654.xml"/><Relationship Id="rId7" Type="http://schemas.openxmlformats.org/officeDocument/2006/relationships/tags" Target="../tags/tag658.xml"/><Relationship Id="rId2" Type="http://schemas.openxmlformats.org/officeDocument/2006/relationships/tags" Target="../tags/tag653.xml"/><Relationship Id="rId1" Type="http://schemas.openxmlformats.org/officeDocument/2006/relationships/vmlDrawing" Target="../drawings/vmlDrawing82.vml"/><Relationship Id="rId6" Type="http://schemas.openxmlformats.org/officeDocument/2006/relationships/tags" Target="../tags/tag657.xml"/><Relationship Id="rId11" Type="http://schemas.openxmlformats.org/officeDocument/2006/relationships/image" Target="../media/image2.emf"/><Relationship Id="rId5" Type="http://schemas.openxmlformats.org/officeDocument/2006/relationships/tags" Target="../tags/tag656.xml"/><Relationship Id="rId10" Type="http://schemas.openxmlformats.org/officeDocument/2006/relationships/oleObject" Target="../embeddings/oleObject82.bin"/><Relationship Id="rId4" Type="http://schemas.openxmlformats.org/officeDocument/2006/relationships/tags" Target="../tags/tag655.xml"/><Relationship Id="rId9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666.xml"/><Relationship Id="rId3" Type="http://schemas.openxmlformats.org/officeDocument/2006/relationships/tags" Target="../tags/tag661.xml"/><Relationship Id="rId7" Type="http://schemas.openxmlformats.org/officeDocument/2006/relationships/tags" Target="../tags/tag665.xml"/><Relationship Id="rId2" Type="http://schemas.openxmlformats.org/officeDocument/2006/relationships/tags" Target="../tags/tag660.xml"/><Relationship Id="rId1" Type="http://schemas.openxmlformats.org/officeDocument/2006/relationships/vmlDrawing" Target="../drawings/vmlDrawing83.vml"/><Relationship Id="rId6" Type="http://schemas.openxmlformats.org/officeDocument/2006/relationships/tags" Target="../tags/tag664.xml"/><Relationship Id="rId11" Type="http://schemas.openxmlformats.org/officeDocument/2006/relationships/image" Target="../media/image1.emf"/><Relationship Id="rId5" Type="http://schemas.openxmlformats.org/officeDocument/2006/relationships/tags" Target="../tags/tag663.xml"/><Relationship Id="rId10" Type="http://schemas.openxmlformats.org/officeDocument/2006/relationships/oleObject" Target="../embeddings/oleObject83.bin"/><Relationship Id="rId4" Type="http://schemas.openxmlformats.org/officeDocument/2006/relationships/tags" Target="../tags/tag662.xml"/><Relationship Id="rId9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68.xml"/><Relationship Id="rId7" Type="http://schemas.openxmlformats.org/officeDocument/2006/relationships/tags" Target="../tags/tag672.xml"/><Relationship Id="rId2" Type="http://schemas.openxmlformats.org/officeDocument/2006/relationships/tags" Target="../tags/tag667.xml"/><Relationship Id="rId1" Type="http://schemas.openxmlformats.org/officeDocument/2006/relationships/vmlDrawing" Target="../drawings/vmlDrawing84.vml"/><Relationship Id="rId6" Type="http://schemas.openxmlformats.org/officeDocument/2006/relationships/tags" Target="../tags/tag671.xml"/><Relationship Id="rId5" Type="http://schemas.openxmlformats.org/officeDocument/2006/relationships/tags" Target="../tags/tag670.xml"/><Relationship Id="rId10" Type="http://schemas.openxmlformats.org/officeDocument/2006/relationships/image" Target="../media/image2.emf"/><Relationship Id="rId4" Type="http://schemas.openxmlformats.org/officeDocument/2006/relationships/tags" Target="../tags/tag669.xml"/><Relationship Id="rId9" Type="http://schemas.openxmlformats.org/officeDocument/2006/relationships/oleObject" Target="../embeddings/oleObject84.bin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679.xml"/><Relationship Id="rId3" Type="http://schemas.openxmlformats.org/officeDocument/2006/relationships/tags" Target="../tags/tag674.xml"/><Relationship Id="rId7" Type="http://schemas.openxmlformats.org/officeDocument/2006/relationships/tags" Target="../tags/tag678.xml"/><Relationship Id="rId2" Type="http://schemas.openxmlformats.org/officeDocument/2006/relationships/tags" Target="../tags/tag673.xml"/><Relationship Id="rId1" Type="http://schemas.openxmlformats.org/officeDocument/2006/relationships/vmlDrawing" Target="../drawings/vmlDrawing85.vml"/><Relationship Id="rId6" Type="http://schemas.openxmlformats.org/officeDocument/2006/relationships/tags" Target="../tags/tag677.xml"/><Relationship Id="rId11" Type="http://schemas.openxmlformats.org/officeDocument/2006/relationships/image" Target="../media/image2.emf"/><Relationship Id="rId5" Type="http://schemas.openxmlformats.org/officeDocument/2006/relationships/tags" Target="../tags/tag676.xml"/><Relationship Id="rId10" Type="http://schemas.openxmlformats.org/officeDocument/2006/relationships/oleObject" Target="../embeddings/oleObject85.bin"/><Relationship Id="rId4" Type="http://schemas.openxmlformats.org/officeDocument/2006/relationships/tags" Target="../tags/tag675.xml"/><Relationship Id="rId9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81.xml"/><Relationship Id="rId7" Type="http://schemas.openxmlformats.org/officeDocument/2006/relationships/tags" Target="../tags/tag685.xml"/><Relationship Id="rId2" Type="http://schemas.openxmlformats.org/officeDocument/2006/relationships/tags" Target="../tags/tag680.xml"/><Relationship Id="rId1" Type="http://schemas.openxmlformats.org/officeDocument/2006/relationships/vmlDrawing" Target="../drawings/vmlDrawing86.vml"/><Relationship Id="rId6" Type="http://schemas.openxmlformats.org/officeDocument/2006/relationships/tags" Target="../tags/tag684.xml"/><Relationship Id="rId5" Type="http://schemas.openxmlformats.org/officeDocument/2006/relationships/tags" Target="../tags/tag683.xml"/><Relationship Id="rId10" Type="http://schemas.openxmlformats.org/officeDocument/2006/relationships/image" Target="../media/image2.emf"/><Relationship Id="rId4" Type="http://schemas.openxmlformats.org/officeDocument/2006/relationships/tags" Target="../tags/tag682.xml"/><Relationship Id="rId9" Type="http://schemas.openxmlformats.org/officeDocument/2006/relationships/oleObject" Target="../embeddings/oleObject86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692.xml"/><Relationship Id="rId3" Type="http://schemas.openxmlformats.org/officeDocument/2006/relationships/tags" Target="../tags/tag687.xml"/><Relationship Id="rId7" Type="http://schemas.openxmlformats.org/officeDocument/2006/relationships/tags" Target="../tags/tag691.xml"/><Relationship Id="rId2" Type="http://schemas.openxmlformats.org/officeDocument/2006/relationships/tags" Target="../tags/tag686.xml"/><Relationship Id="rId1" Type="http://schemas.openxmlformats.org/officeDocument/2006/relationships/vmlDrawing" Target="../drawings/vmlDrawing87.vml"/><Relationship Id="rId6" Type="http://schemas.openxmlformats.org/officeDocument/2006/relationships/tags" Target="../tags/tag690.xml"/><Relationship Id="rId11" Type="http://schemas.openxmlformats.org/officeDocument/2006/relationships/image" Target="../media/image2.emf"/><Relationship Id="rId5" Type="http://schemas.openxmlformats.org/officeDocument/2006/relationships/tags" Target="../tags/tag689.xml"/><Relationship Id="rId10" Type="http://schemas.openxmlformats.org/officeDocument/2006/relationships/oleObject" Target="../embeddings/oleObject87.bin"/><Relationship Id="rId4" Type="http://schemas.openxmlformats.org/officeDocument/2006/relationships/tags" Target="../tags/tag688.xml"/><Relationship Id="rId9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699.xml"/><Relationship Id="rId3" Type="http://schemas.openxmlformats.org/officeDocument/2006/relationships/tags" Target="../tags/tag694.xml"/><Relationship Id="rId7" Type="http://schemas.openxmlformats.org/officeDocument/2006/relationships/tags" Target="../tags/tag698.xml"/><Relationship Id="rId12" Type="http://schemas.openxmlformats.org/officeDocument/2006/relationships/image" Target="../media/image3.emf"/><Relationship Id="rId2" Type="http://schemas.openxmlformats.org/officeDocument/2006/relationships/tags" Target="../tags/tag693.xml"/><Relationship Id="rId1" Type="http://schemas.openxmlformats.org/officeDocument/2006/relationships/vmlDrawing" Target="../drawings/vmlDrawing88.vml"/><Relationship Id="rId6" Type="http://schemas.openxmlformats.org/officeDocument/2006/relationships/tags" Target="../tags/tag697.xml"/><Relationship Id="rId11" Type="http://schemas.openxmlformats.org/officeDocument/2006/relationships/oleObject" Target="../embeddings/oleObject88.bin"/><Relationship Id="rId5" Type="http://schemas.openxmlformats.org/officeDocument/2006/relationships/tags" Target="../tags/tag696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695.xml"/><Relationship Id="rId9" Type="http://schemas.openxmlformats.org/officeDocument/2006/relationships/tags" Target="../tags/tag700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707.xml"/><Relationship Id="rId3" Type="http://schemas.openxmlformats.org/officeDocument/2006/relationships/tags" Target="../tags/tag702.xml"/><Relationship Id="rId7" Type="http://schemas.openxmlformats.org/officeDocument/2006/relationships/tags" Target="../tags/tag706.xml"/><Relationship Id="rId12" Type="http://schemas.openxmlformats.org/officeDocument/2006/relationships/image" Target="../media/image3.emf"/><Relationship Id="rId2" Type="http://schemas.openxmlformats.org/officeDocument/2006/relationships/tags" Target="../tags/tag701.xml"/><Relationship Id="rId1" Type="http://schemas.openxmlformats.org/officeDocument/2006/relationships/vmlDrawing" Target="../drawings/vmlDrawing89.vml"/><Relationship Id="rId6" Type="http://schemas.openxmlformats.org/officeDocument/2006/relationships/tags" Target="../tags/tag705.xml"/><Relationship Id="rId11" Type="http://schemas.openxmlformats.org/officeDocument/2006/relationships/oleObject" Target="../embeddings/oleObject89.bin"/><Relationship Id="rId5" Type="http://schemas.openxmlformats.org/officeDocument/2006/relationships/tags" Target="../tags/tag704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703.xml"/><Relationship Id="rId9" Type="http://schemas.openxmlformats.org/officeDocument/2006/relationships/tags" Target="../tags/tag708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tags" Target="../tags/tag715.xml"/><Relationship Id="rId3" Type="http://schemas.openxmlformats.org/officeDocument/2006/relationships/tags" Target="../tags/tag710.xml"/><Relationship Id="rId7" Type="http://schemas.openxmlformats.org/officeDocument/2006/relationships/tags" Target="../tags/tag714.xml"/><Relationship Id="rId12" Type="http://schemas.openxmlformats.org/officeDocument/2006/relationships/image" Target="../media/image2.emf"/><Relationship Id="rId2" Type="http://schemas.openxmlformats.org/officeDocument/2006/relationships/tags" Target="../tags/tag709.xml"/><Relationship Id="rId1" Type="http://schemas.openxmlformats.org/officeDocument/2006/relationships/vmlDrawing" Target="../drawings/vmlDrawing90.vml"/><Relationship Id="rId6" Type="http://schemas.openxmlformats.org/officeDocument/2006/relationships/tags" Target="../tags/tag713.xml"/><Relationship Id="rId11" Type="http://schemas.openxmlformats.org/officeDocument/2006/relationships/oleObject" Target="../embeddings/oleObject90.bin"/><Relationship Id="rId5" Type="http://schemas.openxmlformats.org/officeDocument/2006/relationships/tags" Target="../tags/tag712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711.xml"/><Relationship Id="rId9" Type="http://schemas.openxmlformats.org/officeDocument/2006/relationships/tags" Target="../tags/tag716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723.xml"/><Relationship Id="rId3" Type="http://schemas.openxmlformats.org/officeDocument/2006/relationships/tags" Target="../tags/tag718.xml"/><Relationship Id="rId7" Type="http://schemas.openxmlformats.org/officeDocument/2006/relationships/tags" Target="../tags/tag722.xml"/><Relationship Id="rId12" Type="http://schemas.openxmlformats.org/officeDocument/2006/relationships/image" Target="../media/image2.emf"/><Relationship Id="rId2" Type="http://schemas.openxmlformats.org/officeDocument/2006/relationships/tags" Target="../tags/tag717.xml"/><Relationship Id="rId1" Type="http://schemas.openxmlformats.org/officeDocument/2006/relationships/vmlDrawing" Target="../drawings/vmlDrawing91.vml"/><Relationship Id="rId6" Type="http://schemas.openxmlformats.org/officeDocument/2006/relationships/tags" Target="../tags/tag721.xml"/><Relationship Id="rId11" Type="http://schemas.openxmlformats.org/officeDocument/2006/relationships/oleObject" Target="../embeddings/oleObject91.bin"/><Relationship Id="rId5" Type="http://schemas.openxmlformats.org/officeDocument/2006/relationships/tags" Target="../tags/tag720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719.xml"/><Relationship Id="rId9" Type="http://schemas.openxmlformats.org/officeDocument/2006/relationships/tags" Target="../tags/tag72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image" Target="../media/image3.emf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8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731.xml"/><Relationship Id="rId3" Type="http://schemas.openxmlformats.org/officeDocument/2006/relationships/tags" Target="../tags/tag726.xml"/><Relationship Id="rId7" Type="http://schemas.openxmlformats.org/officeDocument/2006/relationships/tags" Target="../tags/tag730.xml"/><Relationship Id="rId12" Type="http://schemas.openxmlformats.org/officeDocument/2006/relationships/image" Target="../media/image3.emf"/><Relationship Id="rId2" Type="http://schemas.openxmlformats.org/officeDocument/2006/relationships/tags" Target="../tags/tag725.xml"/><Relationship Id="rId1" Type="http://schemas.openxmlformats.org/officeDocument/2006/relationships/vmlDrawing" Target="../drawings/vmlDrawing92.vml"/><Relationship Id="rId6" Type="http://schemas.openxmlformats.org/officeDocument/2006/relationships/tags" Target="../tags/tag729.xml"/><Relationship Id="rId11" Type="http://schemas.openxmlformats.org/officeDocument/2006/relationships/oleObject" Target="../embeddings/oleObject92.bin"/><Relationship Id="rId5" Type="http://schemas.openxmlformats.org/officeDocument/2006/relationships/tags" Target="../tags/tag728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727.xml"/><Relationship Id="rId9" Type="http://schemas.openxmlformats.org/officeDocument/2006/relationships/tags" Target="../tags/tag732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734.xml"/><Relationship Id="rId7" Type="http://schemas.openxmlformats.org/officeDocument/2006/relationships/tags" Target="../tags/tag738.xml"/><Relationship Id="rId2" Type="http://schemas.openxmlformats.org/officeDocument/2006/relationships/tags" Target="../tags/tag733.xml"/><Relationship Id="rId1" Type="http://schemas.openxmlformats.org/officeDocument/2006/relationships/vmlDrawing" Target="../drawings/vmlDrawing93.vml"/><Relationship Id="rId6" Type="http://schemas.openxmlformats.org/officeDocument/2006/relationships/tags" Target="../tags/tag737.xml"/><Relationship Id="rId5" Type="http://schemas.openxmlformats.org/officeDocument/2006/relationships/tags" Target="../tags/tag736.xml"/><Relationship Id="rId10" Type="http://schemas.openxmlformats.org/officeDocument/2006/relationships/image" Target="../media/image1.emf"/><Relationship Id="rId4" Type="http://schemas.openxmlformats.org/officeDocument/2006/relationships/tags" Target="../tags/tag735.xml"/><Relationship Id="rId9" Type="http://schemas.openxmlformats.org/officeDocument/2006/relationships/oleObject" Target="../embeddings/oleObject93.bin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40.xml"/><Relationship Id="rId7" Type="http://schemas.openxmlformats.org/officeDocument/2006/relationships/oleObject" Target="../embeddings/oleObject94.bin"/><Relationship Id="rId2" Type="http://schemas.openxmlformats.org/officeDocument/2006/relationships/tags" Target="../tags/tag739.xml"/><Relationship Id="rId1" Type="http://schemas.openxmlformats.org/officeDocument/2006/relationships/vmlDrawing" Target="../drawings/vmlDrawing94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742.xml"/><Relationship Id="rId4" Type="http://schemas.openxmlformats.org/officeDocument/2006/relationships/tags" Target="../tags/tag74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744.xml"/><Relationship Id="rId7" Type="http://schemas.openxmlformats.org/officeDocument/2006/relationships/image" Target="../media/image2.emf"/><Relationship Id="rId2" Type="http://schemas.openxmlformats.org/officeDocument/2006/relationships/tags" Target="../tags/tag743.xml"/><Relationship Id="rId1" Type="http://schemas.openxmlformats.org/officeDocument/2006/relationships/vmlDrawing" Target="../drawings/vmlDrawing95.vml"/><Relationship Id="rId6" Type="http://schemas.openxmlformats.org/officeDocument/2006/relationships/oleObject" Target="../embeddings/oleObject95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74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7835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2114" y="2406303"/>
            <a:ext cx="7487877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12114" y="4539678"/>
            <a:ext cx="74861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2114" y="3611490"/>
            <a:ext cx="748610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943600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8063F9-BD79-4AC7-AE37-FA41373B0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1033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8063F9-BD79-4AC7-AE37-FA41373B0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7D5CD0B7-78F0-4D90-8217-39B2ABEF29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189FC83F-F940-442F-8A4B-3FFD875A4CE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0AB58A89-F6F4-4862-B0B6-9B56563426ED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3869385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0C43D9A-8871-4E21-8014-7D0511A34A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D0AE5B54-AB0E-4484-9346-E286DDC6EE2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6052" y="173736"/>
            <a:ext cx="3869385" cy="338554"/>
          </a:xfrm>
        </p:spPr>
        <p:txBody>
          <a:bodyPr wrap="square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515FD66B-17DF-4FD2-AACA-1776A172332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6052" y="525928"/>
            <a:ext cx="386938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F6423CDC-10C6-4893-AAB3-4DC3BAB587D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874AD5-EF74-4210-B94F-F40285F6D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7766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874AD5-EF74-4210-B94F-F40285F6D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D1DF5CE8-D561-43C7-AB94-A5D89A58CD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0151F0BA-80A8-4F21-BC61-52898A9C097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D3CEBF83-E241-4D4D-9783-E5C68CC3AF4E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5225477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4B1AC38-9340-4F04-B7F9-727A4C19843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E0989CC3-989C-4053-8FFF-166827696BD9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6052" y="173736"/>
            <a:ext cx="5225477" cy="338554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74755987-3A66-4AF7-AF0A-FD37AD28002D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6052" y="525928"/>
            <a:ext cx="5225477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C494F823-6042-40C6-94CD-0F980C6F2DF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84664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CB8AD3-3DED-4C3C-8856-6127F6F35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0F3E7B1-38C8-4558-A8C6-99F73B7D438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E3119B5-3D7F-4B88-8761-E5447BB52B0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1" y="6501669"/>
            <a:ext cx="594360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2B2936D-0579-49C0-B9F2-C284240312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126BA874-D683-4AD6-9136-C6CB0A000745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6052" y="173736"/>
            <a:ext cx="5943600" cy="3385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014A53DA-65EF-4EBF-B2CC-035C915C32E5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6052" y="525928"/>
            <a:ext cx="5943600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4BA71C2D-8769-4A52-BEB4-7C780187BFA1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721879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B36C25-3154-4643-A5D1-40C663C761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45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1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B36C25-3154-4643-A5D1-40C663C76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261CA95-BAC8-4094-B77C-B413C63AA4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3736"/>
            <a:ext cx="8311896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F5AB69F0-0252-4F2C-9F5C-D4F8BF35BCB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algn="r" defTabSz="458047" rtl="0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marL="0" algn="r" defTabSz="458047" rtl="0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E3C08BE2-DFA5-4DF3-81CF-C757EBD94F2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7765112B-94E4-48E7-B473-F1F8C57D1D8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5B035A1A-50B6-45E3-9869-D14473D397A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116046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5F7C92-D5CD-4EDC-B5FB-B32BFADF4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8071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5F7C92-D5CD-4EDC-B5FB-B32BFADF4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">
            <a:extLst>
              <a:ext uri="{FF2B5EF4-FFF2-40B4-BE49-F238E27FC236}">
                <a16:creationId xmlns:a16="http://schemas.microsoft.com/office/drawing/2014/main" id="{E008B892-7EEF-40A7-8714-CA703035E12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047C437-9378-4088-A289-F201ABA447D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33AE1560-579C-459C-A40A-D7865DE59B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6" name="Documenttype">
            <a:extLst>
              <a:ext uri="{FF2B5EF4-FFF2-40B4-BE49-F238E27FC236}">
                <a16:creationId xmlns:a16="http://schemas.microsoft.com/office/drawing/2014/main" id="{49991C03-7F48-47F1-B3A9-19D7D1A4653F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6193704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1C6EC4AA-6C84-4EF6-AF4D-BE24FEED67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417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1C6EC4AA-6C84-4EF6-AF4D-BE24FEED6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E4946286-E3E6-424F-8C6C-3D00E8A0D3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4" name="Documenttype">
            <a:extLst>
              <a:ext uri="{FF2B5EF4-FFF2-40B4-BE49-F238E27FC236}">
                <a16:creationId xmlns:a16="http://schemas.microsoft.com/office/drawing/2014/main" id="{3925F7DB-235B-4011-96E3-49D4B5E6FEEF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53461C-E4EB-442D-A46F-2F705F1BA240}"/>
              </a:ext>
            </a:extLst>
          </p:cNvPr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32AC5E49-6859-42BA-BBE8-CE1F53348EC2}" type="slidenum">
              <a:rPr lang="en-US" sz="1000" b="0" i="0" baseline="0" smtClean="0"/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5925" y="2155825"/>
            <a:ext cx="2168863" cy="121828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6886F4-3100-495C-A857-430EC85C925D}" type="datetime1">
              <a:rPr lang="en-US" smtClean="0"/>
              <a:t>2/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8B51E1-594B-4C22-A6D8-C7227A4F273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B8F34DB8-7E26-4C91-9F36-EC1277E50E19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79897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05CB31-DE56-407A-B80B-C3FB1369F4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642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05CB31-DE56-407A-B80B-C3FB1369F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F37B43-A902-4A76-B6A5-B88040B82C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CDF07847-4290-4F49-9A71-8F731BFC860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2114" y="2406303"/>
            <a:ext cx="7487877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Documenttype">
            <a:extLst>
              <a:ext uri="{FF2B5EF4-FFF2-40B4-BE49-F238E27FC236}">
                <a16:creationId xmlns:a16="http://schemas.microsoft.com/office/drawing/2014/main" id="{2E4CA36C-69A4-4C19-931C-B703D3A9AA3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12114" y="4539678"/>
            <a:ext cx="74861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B730FB75-D162-44C9-98A9-461AB5E1A16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2114" y="3611490"/>
            <a:ext cx="748610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471B611B-1A34-40DA-858C-A17382E7B04E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943600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049EDC94-1679-445E-8477-33C1D42EA00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3FAC02B7-F3A7-43E5-BA0D-B93E4F705B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5360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5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3FAC02B7-F3A7-43E5-BA0D-B93E4F705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1B68EE87-A0DD-496A-B10C-EF1715597DF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73736"/>
            <a:ext cx="8311896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endParaRPr lang="en-US" dirty="0"/>
          </a:p>
        </p:txBody>
      </p:sp>
      <p:sp>
        <p:nvSpPr>
          <p:cNvPr id="11" name="3. Subtitle">
            <a:extLst>
              <a:ext uri="{FF2B5EF4-FFF2-40B4-BE49-F238E27FC236}">
                <a16:creationId xmlns:a16="http://schemas.microsoft.com/office/drawing/2014/main" id="{9058D7A1-E2D0-422A-B35F-8D916C606E0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525928"/>
            <a:ext cx="831189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74896738-E4EE-4DCC-84BD-BB0E08A2B48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FB1680F4-369F-4981-8CAE-002836A16EB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67FF705-F1CE-4ABC-A914-F9AC412C19E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8EFC1666-67C8-4619-A502-4C9EABE725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191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8EFC1666-67C8-4619-A502-4C9EABE72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181D8877-9D16-468C-8A9C-9AF2AF95B7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D9158D3F-8458-4670-99AD-89F5B9E6157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7E354FC4-29D1-43C5-B30D-212C6D407B3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1472ABA9-73A7-4321-9BA4-B0A05F926A3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4EFC8312-321C-479B-BE15-0CD5212DEAED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1706565"/>
            <a:ext cx="2859786" cy="677108"/>
          </a:xfr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8242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2114" y="2406303"/>
            <a:ext cx="7487877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12114" y="4539678"/>
            <a:ext cx="74861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2114" y="3611490"/>
            <a:ext cx="748610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943600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E43528-CD26-468A-9D6D-59D3816B67D2}"/>
              </a:ext>
            </a:extLst>
          </p:cNvPr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32AC5E49-6859-42BA-BBE8-CE1F53348EC2}" type="slidenum">
              <a:rPr lang="en-US" sz="1000" b="0" i="0" baseline="0" smtClean="0"/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19952346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1BDF039-8FE5-43FC-8CA5-4A0ECC529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2008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1BDF039-8FE5-43FC-8CA5-4A0ECC5294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4BEDAF5B-C388-43C9-8126-AACE1FFD94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3FAB087-0C8E-42E4-AAD6-429CA1E2785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EF71AA55-AF82-45C2-8B75-DF470F9CFD4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6066AB4D-AC40-49A2-B3AC-3478F2486DE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DE9464D-8BC5-4E72-841F-6E4DE75935B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3090450"/>
            <a:ext cx="3799332" cy="677108"/>
          </a:xfr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92AD44-1068-4407-82DC-DD4442ED5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741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92AD44-1068-4407-82DC-DD4442ED5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60A37EB2-B222-4484-9B37-B0E9C3B53C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4FA9C5C-3D02-4606-ACC6-45B274125E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50A4CE5E-EA69-462D-9378-162A6B31401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B798B6-D717-47E0-B368-C3CA28559FB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05B2E962-4491-428B-87A4-18F9FA41F83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4919246"/>
            <a:ext cx="8311896" cy="338554"/>
          </a:xfrm>
        </p:spPr>
        <p:txBody>
          <a:bodyPr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3B92AD-52C0-4565-A853-E755058C5D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790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3B92AD-52C0-4565-A853-E755058C5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C0DB32B1-6462-418E-A91E-73704A1896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E1D4303-4599-4610-BC17-19AA3BD4D3B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CD0FB57B-4505-4ECE-8CC1-292C1CC5262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17DDF26-3EA4-4096-ABDB-61F6A72273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380D58AB-4F08-4944-8771-719D0FE78FD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129284" y="3841050"/>
            <a:ext cx="6885432" cy="330796"/>
          </a:xfrm>
        </p:spPr>
        <p:txBody>
          <a:bodyPr anchor="b" anchorCtr="0">
            <a:spAutoFit/>
          </a:bodyPr>
          <a:lstStyle>
            <a:lvl1pPr>
              <a:lnSpc>
                <a:spcPct val="105000"/>
              </a:lnSpc>
              <a:defRPr sz="2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46190879-86E2-45D0-A286-E851B958D8F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1129284" y="4284630"/>
            <a:ext cx="6885432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5BA7DA3C-445E-4932-9B65-4D6A0D20A4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28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5BA7DA3C-445E-4932-9B65-4D6A0D20A4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BCA400D-E795-4965-B6FF-7E4C7627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B6F6B5A9-EC5A-427A-B722-8D754533C6C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A81F4F49-6397-4B3D-8469-48AF4D7694B7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1890839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40380317-DD9B-4DD3-9D54-4A3DD7595D0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41597"/>
            <a:ext cx="1890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FD3FB1A-C225-4F53-BD89-A89916FB597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1163" y="3636552"/>
            <a:ext cx="1890839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0FAAF3CD-7EDD-4C58-BA1E-ECC94B13C412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11163" y="2502261"/>
            <a:ext cx="1890839" cy="101566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EE7D76-85C8-41A6-9EB9-D68C83480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129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EE7D76-85C8-41A6-9EB9-D68C83480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E9A7D48-0E65-43DC-8D8A-493429E6AE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C4E25F3C-FC12-4C7B-8690-F099943594C0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03E55EE9-E402-4188-A74D-AB30DFB160A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2596896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5E637D0B-19D9-4D07-8530-7E6D4C652B0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A51FD86C-D251-419F-9775-53D68C43FDCE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1163" y="2840816"/>
            <a:ext cx="2607005" cy="677108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DF57960B-4081-42D3-9593-9DF9A01A8DB8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1163" y="3636552"/>
            <a:ext cx="2596896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17137B-26E9-42DA-94F7-D7AF0F52C4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287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3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17137B-26E9-42DA-94F7-D7AF0F52C4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2165A603-C9EA-4311-A3EC-F68767B7C5C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BB1212C4-056D-4A20-884D-EF89127DE9F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D6C7A622-8483-4B87-87E0-9F2667994F19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3869385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F41D59B4-4CC5-465C-B42F-EE64766CDDE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122519FC-9CF0-4086-A9C4-A8B994B4140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6052" y="173736"/>
            <a:ext cx="3869385" cy="338554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ECB780D1-3E2B-4565-A6F9-A030B7CCCCE8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6052" y="525928"/>
            <a:ext cx="386938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7FA6AD-EDA1-41F4-A94A-AFE1CDAAC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7291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7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07FA6AD-EDA1-41F4-A94A-AFE1CDAAC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0F0071F0-53F4-436B-8550-E862D0B413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B3820AF2-F01B-4516-A988-BDB56C82C06B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3C1B7EA2-0CD8-4209-B849-B1928AC0D528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5225477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D034326F-B789-4AA1-A5B0-6F18B028049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D944E0A9-A3EA-46D9-ADD9-4EB81E273B21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6052" y="173736"/>
            <a:ext cx="5225477" cy="338554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6E669794-8AC7-453E-A1CC-88738056B9E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6052" y="525928"/>
            <a:ext cx="5225477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257107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1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83534B5-88C0-4A63-97A0-468E34B707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1" name="Slide Number">
            <a:extLst>
              <a:ext uri="{FF2B5EF4-FFF2-40B4-BE49-F238E27FC236}">
                <a16:creationId xmlns:a16="http://schemas.microsoft.com/office/drawing/2014/main" id="{379D2FC5-7414-4BC9-B4BF-9AF5FD6513F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1C8D134F-A731-4739-8143-D2686DEB74D2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1" y="6501669"/>
            <a:ext cx="594360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55319B61-A433-4501-B07D-11941ABA824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FEADE91D-2ED8-4100-AE37-092B06AD3725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6052" y="173736"/>
            <a:ext cx="5943600" cy="3385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8CA86431-7EC3-42D3-AB7D-A694A41C6C9C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6052" y="525928"/>
            <a:ext cx="5943600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6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908564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FC76F2A2-1ABA-4A04-9B09-0337ED58F4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393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5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:a16="http://schemas.microsoft.com/office/drawing/2014/main" id="{FC76F2A2-1ABA-4A04-9B09-0337ED58F4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BF2AB45-B29F-4A30-8BFF-9AB641C7A5C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3736"/>
            <a:ext cx="8311896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F5AB69F0-0252-4F2C-9F5C-D4F8BF35BCB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algn="r" defTabSz="458047" rtl="0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marL="0" algn="r" defTabSz="458047" rtl="0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7E4E1B2-7BEE-4850-9B22-8E97560665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DD8848D6-BF42-4D5E-B951-2BE62FA6F58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064834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9F4DBA6-D3B0-48EF-A7F6-B91F9D4719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892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9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9F4DBA6-D3B0-48EF-A7F6-B91F9D4719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">
            <a:extLst>
              <a:ext uri="{FF2B5EF4-FFF2-40B4-BE49-F238E27FC236}">
                <a16:creationId xmlns:a16="http://schemas.microsoft.com/office/drawing/2014/main" id="{4314F30F-D12A-4F12-9A27-219736E74FD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DD4E823E-DF1B-436E-BC30-2B44F8356ACA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0CC233E2-5317-4D52-9C0D-8DB3AC55BB4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79850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975D1B44-661B-4F7B-B8A0-9C458417D6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06E269-83F5-4510-A180-109E926BB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74117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06E269-83F5-4510-A180-109E926BB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6743208-2407-42A5-AA96-0B30899A9CB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id="{EE021D34-D41C-4EE9-A72D-F8D1E4D6942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525928"/>
            <a:ext cx="831189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id="{2A02F3DA-248E-4A50-B54D-BAD18BAB325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73736"/>
            <a:ext cx="8311896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D1A1691-03F4-4B0C-8CAB-F8163BA548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2D9802C1-17F2-4D5F-804F-01991074A31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DDE7FD00-47B4-4101-9C87-415DAC08A93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2D60A9-87F7-4095-BE4F-D6501EB814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198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2D60A9-87F7-4095-BE4F-D6501EB81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280A55D4-B754-41C0-9254-74244C7FC0F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2114" y="2406303"/>
            <a:ext cx="7487877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12114" y="4539678"/>
            <a:ext cx="74861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2114" y="3611490"/>
            <a:ext cx="748610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943600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200456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2114" y="2406303"/>
            <a:ext cx="7487877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12114" y="4539678"/>
            <a:ext cx="74861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2114" y="3611490"/>
            <a:ext cx="748610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943600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E43528-CD26-468A-9D6D-59D3816B67D2}"/>
              </a:ext>
            </a:extLst>
          </p:cNvPr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32AC5E49-6859-42BA-BBE8-CE1F53348EC2}" type="slidenum">
              <a:rPr lang="en-US" sz="1000" b="0" i="0" baseline="0" smtClean="0"/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22846300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975D1B44-661B-4F7B-B8A0-9C458417D6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06E269-83F5-4510-A180-109E926BB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99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06E269-83F5-4510-A180-109E926BB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6743208-2407-42A5-AA96-0B30899A9CB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id="{EE021D34-D41C-4EE9-A72D-F8D1E4D6942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525928"/>
            <a:ext cx="831189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id="{2A02F3DA-248E-4A50-B54D-BAD18BAB325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73736"/>
            <a:ext cx="8311896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D1A1691-03F4-4B0C-8CAB-F8163BA548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2D9802C1-17F2-4D5F-804F-01991074A31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DDE7FD00-47B4-4101-9C87-415DAC08A93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257339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B2D7514F-25FA-4E78-87EA-9310B6315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B2D7514F-25FA-4E78-87EA-9310B6315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2841F1-1D64-4B85-BE8E-90E9A69032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34B9D0F-511D-4CA0-B397-BC4944905EF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A8B4F948-0FE2-4D04-9E39-993C069D179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CB91F29-3E8E-4E50-9B98-43F571F5A08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EEB17CCB-26D9-483F-95BA-B527BFDD8A8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1706565"/>
            <a:ext cx="2859786" cy="677108"/>
          </a:xfr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0ABC9AF6-5160-4451-8ECE-0567926D2BD3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1264512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F2127110-9E20-4E63-ACC1-B73E30E4EF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7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F2127110-9E20-4E63-ACC1-B73E30E4E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EFDF5F6E-91B7-43FD-B50F-BF43CDA9D0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372AF80-95E2-4967-843F-6B78079F3DA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B107E86E-11CB-41EA-8315-43579BB9C69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6C43D9FF-C745-43A0-B707-D5AB591FB4E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44AA57B-050A-470F-B9D0-A7EB19B84B1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3090450"/>
            <a:ext cx="3799332" cy="677108"/>
          </a:xfr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D5D9F919-7521-44EA-9A91-4EC8F5D22109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078724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E78EB6-BD2E-4D6E-862A-ED6E403B3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E78EB6-BD2E-4D6E-862A-ED6E403B3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6BAF-DF7E-4BB6-8200-BAE77C25D7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6FE1FF87-A5BB-4972-8F6E-73AA93FD3E6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7C40733-AAB6-4B1C-9ABF-846569264BB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38FBD4B-CFE7-4BEF-A65B-0A0DFEA034F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4AEBFE-694A-4920-8CC4-377AC0DC09A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4919246"/>
            <a:ext cx="8311896" cy="338554"/>
          </a:xfrm>
        </p:spPr>
        <p:txBody>
          <a:bodyPr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4F0D16F9-FC38-440D-888F-B825EE88DEB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0044347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2EA9AE-E627-47C3-91DC-8CA9CDA2B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5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2EA9AE-E627-47C3-91DC-8CA9CDA2B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1939BA-D839-448F-8D61-AD5761E2C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66AA477A-2870-4EE9-86E9-448D3B9BAF8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C9713CF-4FEA-4739-B0A0-6B196442AEE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128368CE-BC61-4E6B-9355-7EB40FD80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DDFB2F31-2EDC-46B3-BDCC-C30160A548A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129284" y="3841050"/>
            <a:ext cx="6885432" cy="330796"/>
          </a:xfrm>
        </p:spPr>
        <p:txBody>
          <a:bodyPr anchor="b" anchorCtr="0">
            <a:spAutoFit/>
          </a:bodyPr>
          <a:lstStyle>
            <a:lvl1pPr>
              <a:lnSpc>
                <a:spcPct val="105000"/>
              </a:lnSpc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09099F88-5FFB-4FF9-8B62-5EF51181A82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1129284" y="4284630"/>
            <a:ext cx="6885432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5D34B3BD-8BCA-4033-B144-D029D5A61619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3193530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F17934EB-F2F5-451C-8BFA-F1B57B7FE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9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F17934EB-F2F5-451C-8BFA-F1B57B7FE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994B40-DF0F-4EE0-8098-73DBD5C3F7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2560320" y="0"/>
            <a:ext cx="6583680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1" name="Slide Number">
            <a:extLst>
              <a:ext uri="{FF2B5EF4-FFF2-40B4-BE49-F238E27FC236}">
                <a16:creationId xmlns:a16="http://schemas.microsoft.com/office/drawing/2014/main" id="{BE2CCBC0-C6F2-40FC-91A9-0C10FE38C17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71220653-0E59-43CC-9608-6D9E9A9A645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1890839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C94DE74-BFF3-427D-B1EB-6EC01224A2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41597"/>
            <a:ext cx="1890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7EC052A-7EEB-4E98-B92D-8E3E6C89311C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1163" y="3636552"/>
            <a:ext cx="1890839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6EDF22DC-CFC6-49A3-985F-D21B951A77A3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11163" y="2502261"/>
            <a:ext cx="1890839" cy="101566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44C1EF3F-8633-48A1-9E13-6964B8387937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307890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317DDE9-4510-4ADA-BC78-E96D24597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3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317DDE9-4510-4ADA-BC78-E96D24597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30D7698A-7001-41A3-B997-323E2D93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3273552" y="0"/>
            <a:ext cx="587044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FD54F44A-AA88-4B28-88CB-9DD6BDA16D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9E8DABE5-6099-4D42-9730-B3FED1A8FD55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2607005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F2D8FBFF-13B8-4394-9AF5-D206F6B8DF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8C5B63D-E9C7-4AF1-8B9D-DBEF74F2CE5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1163" y="2840816"/>
            <a:ext cx="2607005" cy="677108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302CFF5-7D13-40E9-B0FB-8BC438F87D7F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1163" y="3636552"/>
            <a:ext cx="2596896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C6F7C55D-688F-462A-99C0-63216457577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2298182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B2D7514F-25FA-4E78-87EA-9310B6315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5369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B2D7514F-25FA-4E78-87EA-9310B6315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2841F1-1D64-4B85-BE8E-90E9A69032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34B9D0F-511D-4CA0-B397-BC4944905EF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A8B4F948-0FE2-4D04-9E39-993C069D179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CB91F29-3E8E-4E50-9B98-43F571F5A08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EEB17CCB-26D9-483F-95BA-B527BFDD8A8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1706565"/>
            <a:ext cx="2859786" cy="677108"/>
          </a:xfr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0ABC9AF6-5160-4451-8ECE-0567926D2BD3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8063F9-BD79-4AC7-AE37-FA41373B0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7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8063F9-BD79-4AC7-AE37-FA41373B0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7D5CD0B7-78F0-4D90-8217-39B2ABEF29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189FC83F-F940-442F-8A4B-3FFD875A4CE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0AB58A89-F6F4-4862-B0B6-9B56563426ED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3869385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0C43D9A-8871-4E21-8014-7D0511A34A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D0AE5B54-AB0E-4484-9346-E286DDC6EE2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6052" y="173736"/>
            <a:ext cx="3869385" cy="338554"/>
          </a:xfrm>
        </p:spPr>
        <p:txBody>
          <a:bodyPr wrap="square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515FD66B-17DF-4FD2-AACA-1776A172332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6052" y="525928"/>
            <a:ext cx="386938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F6423CDC-10C6-4893-AAB3-4DC3BAB587D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50173050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874AD5-EF74-4210-B94F-F40285F6D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1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874AD5-EF74-4210-B94F-F40285F6D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D1DF5CE8-D561-43C7-AB94-A5D89A58CD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0151F0BA-80A8-4F21-BC61-52898A9C097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D3CEBF83-E241-4D4D-9783-E5C68CC3AF4E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5225477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4B1AC38-9340-4F04-B7F9-727A4C19843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E0989CC3-989C-4053-8FFF-166827696BD9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6052" y="173736"/>
            <a:ext cx="5225477" cy="338554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74755987-3A66-4AF7-AF0A-FD37AD28002D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6052" y="525928"/>
            <a:ext cx="5225477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C494F823-6042-40C6-94CD-0F980C6F2DF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8719376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5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CB8AD3-3DED-4C3C-8856-6127F6F35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0F3E7B1-38C8-4558-A8C6-99F73B7D438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E3119B5-3D7F-4B88-8761-E5447BB52B0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1" y="6501669"/>
            <a:ext cx="594360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2B2936D-0579-49C0-B9F2-C284240312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126BA874-D683-4AD6-9136-C6CB0A000745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6052" y="173736"/>
            <a:ext cx="5943600" cy="3385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014A53DA-65EF-4EBF-B2CC-035C915C32E5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6052" y="525928"/>
            <a:ext cx="5943600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4BA71C2D-8769-4A52-BEB4-7C780187BFA1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714792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B36C25-3154-4643-A5D1-40C663C761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39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B36C25-3154-4643-A5D1-40C663C76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261CA95-BAC8-4094-B77C-B413C63AA4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3736"/>
            <a:ext cx="8311896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F5AB69F0-0252-4F2C-9F5C-D4F8BF35BCB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algn="r" defTabSz="458047" rtl="0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marL="0" algn="r" defTabSz="458047" rtl="0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E3C08BE2-DFA5-4DF3-81CF-C757EBD94F2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7765112B-94E4-48E7-B473-F1F8C57D1D8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5B035A1A-50B6-45E3-9869-D14473D397A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5631766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5F7C92-D5CD-4EDC-B5FB-B32BFADF4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6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5F7C92-D5CD-4EDC-B5FB-B32BFADF4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">
            <a:extLst>
              <a:ext uri="{FF2B5EF4-FFF2-40B4-BE49-F238E27FC236}">
                <a16:creationId xmlns:a16="http://schemas.microsoft.com/office/drawing/2014/main" id="{E008B892-7EEF-40A7-8714-CA703035E12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047C437-9378-4088-A289-F201ABA447D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33AE1560-579C-459C-A40A-D7865DE59B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6" name="Documenttype">
            <a:extLst>
              <a:ext uri="{FF2B5EF4-FFF2-40B4-BE49-F238E27FC236}">
                <a16:creationId xmlns:a16="http://schemas.microsoft.com/office/drawing/2014/main" id="{49991C03-7F48-47F1-B3A9-19D7D1A4653F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3545827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1C6EC4AA-6C84-4EF6-AF4D-BE24FEED67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7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1C6EC4AA-6C84-4EF6-AF4D-BE24FEED6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E4946286-E3E6-424F-8C6C-3D00E8A0D3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4" name="Documenttype">
            <a:extLst>
              <a:ext uri="{FF2B5EF4-FFF2-40B4-BE49-F238E27FC236}">
                <a16:creationId xmlns:a16="http://schemas.microsoft.com/office/drawing/2014/main" id="{3925F7DB-235B-4011-96E3-49D4B5E6FEEF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B57B1F2-0D07-4497-BA4B-6E4153EF2D2A}"/>
              </a:ext>
            </a:extLst>
          </p:cNvPr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32AC5E49-6859-42BA-BBE8-CE1F53348EC2}" type="slidenum">
              <a:rPr lang="en-US" sz="1000" b="0" i="0" baseline="0" smtClean="0"/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0958399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2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1" name="think-cell Slide" r:id="rId6" imgW="393" imgH="394" progId="TCLayout.ActiveDocument.1">
                  <p:embed/>
                </p:oleObj>
              </mc:Choice>
              <mc:Fallback>
                <p:oleObj name="think-cell Slide" r:id="rId6" imgW="393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2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id="{C393A5F2-8637-4A82-8120-E9907FF928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n-U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4DA54418-B561-473B-B322-DBAE0888AC3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922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29">
          <p15:clr>
            <a:srgbClr val="F26B43"/>
          </p15:clr>
        </p15:guide>
        <p15:guide id="2" pos="56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900" b="1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600" y="1143002"/>
            <a:ext cx="7924800" cy="1200329"/>
          </a:xfrm>
        </p:spPr>
        <p:txBody>
          <a:bodyPr wrap="square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A877DD-D20E-44D1-9DCC-7B13DFBEDBDD}"/>
              </a:ext>
            </a:extLst>
          </p:cNvPr>
          <p:cNvSpPr txBox="1"/>
          <p:nvPr userDrawn="1"/>
        </p:nvSpPr>
        <p:spPr>
          <a:xfrm>
            <a:off x="8545514" y="6445664"/>
            <a:ext cx="208756" cy="152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32AC5E49-6859-42BA-BBE8-CE1F53348EC2}" type="slidenum">
              <a:rPr lang="en-US" sz="1000" b="0" i="0" baseline="0" smtClean="0"/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17745946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23D28-6A1E-4FD6-BF76-460C8E767576}" type="datetimeFigureOut">
              <a:rPr lang="en-US" smtClean="0"/>
              <a:t>2/4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64EF2-3EFA-4B06-B5BC-1855B6598F3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65D2465-7C12-4675-A7FA-38B1EC34C279}"/>
              </a:ext>
            </a:extLst>
          </p:cNvPr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32AC5E49-6859-42BA-BBE8-CE1F53348EC2}" type="slidenum">
              <a:rPr lang="en-US" sz="1000" b="0" i="0" baseline="0" smtClean="0"/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330130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2114" y="2406303"/>
            <a:ext cx="7487877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12114" y="4539678"/>
            <a:ext cx="74861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2114" y="3611490"/>
            <a:ext cx="748610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943600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3651312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F2127110-9E20-4E63-ACC1-B73E30E4EF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0125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F2127110-9E20-4E63-ACC1-B73E30E4E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EFDF5F6E-91B7-43FD-B50F-BF43CDA9D0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372AF80-95E2-4967-843F-6B78079F3DA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B107E86E-11CB-41EA-8315-43579BB9C69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6C43D9FF-C745-43A0-B707-D5AB591FB4E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44AA57B-050A-470F-B9D0-A7EB19B84B1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3090450"/>
            <a:ext cx="3799332" cy="677108"/>
          </a:xfr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D5D9F919-7521-44EA-9A91-4EC8F5D22109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06E269-83F5-4510-A180-109E926BB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7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06E269-83F5-4510-A180-109E926BB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6743208-2407-42A5-AA96-0B30899A9C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id="{EE021D34-D41C-4EE9-A72D-F8D1E4D6942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525928"/>
            <a:ext cx="831189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id="{2A02F3DA-248E-4A50-B54D-BAD18BAB325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73736"/>
            <a:ext cx="8311896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D1A1691-03F4-4B0C-8CAB-F8163BA54877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ltGray">
          <a:xfrm>
            <a:off x="8476488" y="666942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2D9802C1-17F2-4D5F-804F-01991074A3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DDE7FD00-47B4-4101-9C87-415DAC08A93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335AEFB6-D0FB-42BD-A7D9-B038003F9038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899553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B2D7514F-25FA-4E78-87EA-9310B6315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B2D7514F-25FA-4E78-87EA-9310B6315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2841F1-1D64-4B85-BE8E-90E9A69032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34B9D0F-511D-4CA0-B397-BC4944905EF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A8B4F948-0FE2-4D04-9E39-993C069D179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CB91F29-3E8E-4E50-9B98-43F571F5A08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EEB17CCB-26D9-483F-95BA-B527BFDD8A8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1706565"/>
            <a:ext cx="2859786" cy="677108"/>
          </a:xfr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9F978F88-888E-4902-AE4E-763730DFD54F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64762636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F2127110-9E20-4E63-ACC1-B73E30E4EF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F2127110-9E20-4E63-ACC1-B73E30E4E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EFDF5F6E-91B7-43FD-B50F-BF43CDA9D0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372AF80-95E2-4967-843F-6B78079F3DA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B107E86E-11CB-41EA-8315-43579BB9C69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6C43D9FF-C745-43A0-B707-D5AB591FB4E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44AA57B-050A-470F-B9D0-A7EB19B84B1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3090450"/>
            <a:ext cx="3799332" cy="677108"/>
          </a:xfr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D55D8EEB-2BE1-4282-98D8-53EF303E8282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FF46468E-B5D9-4D46-B53F-92250D42CD9A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4420570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E78EB6-BD2E-4D6E-862A-ED6E403B3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7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E78EB6-BD2E-4D6E-862A-ED6E403B3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6BAF-DF7E-4BB6-8200-BAE77C25D7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7C40733-AAB6-4B1C-9ABF-846569264BB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38FBD4B-CFE7-4BEF-A65B-0A0DFEA034F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4AEBFE-694A-4920-8CC4-377AC0DC09A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4919246"/>
            <a:ext cx="8311896" cy="338554"/>
          </a:xfrm>
        </p:spPr>
        <p:txBody>
          <a:bodyPr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71BC29E-3439-42EF-857A-06339F96CBB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37CB39DD-EF4E-42C9-A79F-7772D544B1BC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5842890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2EA9AE-E627-47C3-91DC-8CA9CDA2B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2EA9AE-E627-47C3-91DC-8CA9CDA2B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1939BA-D839-448F-8D61-AD5761E2C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C9713CF-4FEA-4739-B0A0-6B196442AEE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128368CE-BC61-4E6B-9355-7EB40FD80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DDFB2F31-2EDC-46B3-BDCC-C30160A548A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29284" y="3841050"/>
            <a:ext cx="6885432" cy="330796"/>
          </a:xfrm>
        </p:spPr>
        <p:txBody>
          <a:bodyPr anchor="b" anchorCtr="0">
            <a:spAutoFit/>
          </a:bodyPr>
          <a:lstStyle>
            <a:lvl1pPr>
              <a:lnSpc>
                <a:spcPct val="105000"/>
              </a:lnSpc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09099F88-5FFB-4FF9-8B62-5EF51181A82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1129284" y="4284630"/>
            <a:ext cx="6885432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4794E3C-7711-4AF2-84E5-0B386A07C84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FD552472-5C1D-460A-A4B4-6CF2E8B85AE3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1408956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F17934EB-F2F5-451C-8BFA-F1B57B7FE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F17934EB-F2F5-451C-8BFA-F1B57B7FE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994B40-DF0F-4EE0-8098-73DBD5C3F7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2560320" y="0"/>
            <a:ext cx="6583680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71220653-0E59-43CC-9608-6D9E9A9A645B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416052" y="6501669"/>
            <a:ext cx="1890839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C94DE74-BFF3-427D-B1EB-6EC01224A2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3" y="41597"/>
            <a:ext cx="1890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7EC052A-7EEB-4E98-B92D-8E3E6C89311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1163" y="3636552"/>
            <a:ext cx="1890839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6EDF22DC-CFC6-49A3-985F-D21B951A77A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1163" y="2502261"/>
            <a:ext cx="1890839" cy="101566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F463310E-A1CE-491A-A58B-9DF9FAD834F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2419FD05-7C22-4B7B-A703-31F91DCDD9EF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4740079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317DDE9-4510-4ADA-BC78-E96D24597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317DDE9-4510-4ADA-BC78-E96D24597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30D7698A-7001-41A3-B997-323E2D93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3273552" y="0"/>
            <a:ext cx="587044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9E8DABE5-6099-4D42-9730-B3FED1A8FD55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416052" y="6501669"/>
            <a:ext cx="2607005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F2D8FBFF-13B8-4394-9AF5-D206F6B8DF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8C5B63D-E9C7-4AF1-8B9D-DBEF74F2CE5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1163" y="2840816"/>
            <a:ext cx="2607005" cy="677108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302CFF5-7D13-40E9-B0FB-8BC438F87D7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1163" y="3636552"/>
            <a:ext cx="2596896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297D7C76-C65E-4CC9-A67E-4696F7C9613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F3F73D64-B470-4557-8F79-8782F469C850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5544352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8063F9-BD79-4AC7-AE37-FA41373B0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5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8063F9-BD79-4AC7-AE37-FA41373B0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7D5CD0B7-78F0-4D90-8217-39B2ABEF29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0AB58A89-F6F4-4862-B0B6-9B56563426ED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416052" y="6501669"/>
            <a:ext cx="3869385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0C43D9A-8871-4E21-8014-7D0511A34A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D0AE5B54-AB0E-4484-9346-E286DDC6EE2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173736"/>
            <a:ext cx="3869385" cy="338554"/>
          </a:xfrm>
        </p:spPr>
        <p:txBody>
          <a:bodyPr wrap="square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515FD66B-17DF-4FD2-AACA-1776A172332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6052" y="525928"/>
            <a:ext cx="386938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0AA6CB2-9326-44D6-9F1F-EBBC1FF3295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B76ACF59-02C1-479D-897F-32A99C4BF1B1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310521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874AD5-EF74-4210-B94F-F40285F6D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9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874AD5-EF74-4210-B94F-F40285F6D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D1DF5CE8-D561-43C7-AB94-A5D89A58CD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D3CEBF83-E241-4D4D-9783-E5C68CC3AF4E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416052" y="6501669"/>
            <a:ext cx="5225477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4B1AC38-9340-4F04-B7F9-727A4C19843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E0989CC3-989C-4053-8FFF-166827696BD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173736"/>
            <a:ext cx="5225477" cy="338554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74755987-3A66-4AF7-AF0A-FD37AD28002D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6052" y="525928"/>
            <a:ext cx="5225477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A176909-1827-47A3-9269-999921D650E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E7EE37E3-110B-4CCF-BDA9-78DE4A64FA36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29205653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2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CB8AD3-3DED-4C3C-8856-6127F6F35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E3119B5-3D7F-4B88-8761-E5447BB52B0A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416051" y="6501669"/>
            <a:ext cx="594360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2B2936D-0579-49C0-B9F2-C284240312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126BA874-D683-4AD6-9136-C6CB0A00074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173736"/>
            <a:ext cx="5943600" cy="3385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014A53DA-65EF-4EBF-B2CC-035C915C32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6052" y="525928"/>
            <a:ext cx="5943600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FC049C98-96F1-4F55-B79F-1572DAC8C7D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61C2D8E6-F8F1-4FA3-994A-119390ACFF51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2419999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E78EB6-BD2E-4D6E-862A-ED6E403B3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808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E78EB6-BD2E-4D6E-862A-ED6E403B3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6BAF-DF7E-4BB6-8200-BAE77C25D7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6FE1FF87-A5BB-4972-8F6E-73AA93FD3E6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7C40733-AAB6-4B1C-9ABF-846569264BB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38FBD4B-CFE7-4BEF-A65B-0A0DFEA034F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4AEBFE-694A-4920-8CC4-377AC0DC09A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4919246"/>
            <a:ext cx="8311896" cy="338554"/>
          </a:xfrm>
        </p:spPr>
        <p:txBody>
          <a:bodyPr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4F0D16F9-FC38-440D-888F-B825EE88DEB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B36C25-3154-4643-A5D1-40C663C761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47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B36C25-3154-4643-A5D1-40C663C76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261CA95-BAC8-4094-B77C-B413C63AA4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3736"/>
            <a:ext cx="8311896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E3C08BE2-DFA5-4DF3-81CF-C757EBD94F2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7765112B-94E4-48E7-B473-F1F8C57D1D8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BFF4B3B8-EB8B-4398-9258-E4FEB275732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1A6FC294-D020-45FF-B13F-B960E542BFDC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6209626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5F7C92-D5CD-4EDC-B5FB-B32BFADF4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71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5F7C92-D5CD-4EDC-B5FB-B32BFADF4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047C437-9378-4088-A289-F201ABA447D1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33AE1560-579C-459C-A40A-D7865DE59B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882B8BD-EE7D-4A81-AADC-1A688E7F0FD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253ABF71-6503-4C48-B2E1-8F33E6AC9ABD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56865458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1C6EC4AA-6C84-4EF6-AF4D-BE24FEED67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95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1C6EC4AA-6C84-4EF6-AF4D-BE24FEED6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E4946286-E3E6-424F-8C6C-3D00E8A0D3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10773ED9-681A-4C23-9D46-B6F2680699C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Documenttype">
            <a:extLst>
              <a:ext uri="{FF2B5EF4-FFF2-40B4-BE49-F238E27FC236}">
                <a16:creationId xmlns:a16="http://schemas.microsoft.com/office/drawing/2014/main" id="{B44DD919-5728-4942-B695-1A8A92813B5B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3533570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4325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4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2114" y="2406303"/>
            <a:ext cx="7487877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12114" y="4539678"/>
            <a:ext cx="74861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2114" y="3611490"/>
            <a:ext cx="748610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943600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2473892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710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67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2114" y="2406303"/>
            <a:ext cx="7487877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12114" y="4539678"/>
            <a:ext cx="74861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2114" y="3611490"/>
            <a:ext cx="748610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943600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E43528-CD26-468A-9D6D-59D3816B67D2}"/>
              </a:ext>
            </a:extLst>
          </p:cNvPr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32AC5E49-6859-42BA-BBE8-CE1F53348EC2}" type="slidenum">
              <a:rPr lang="en-US" sz="1000" b="0" i="0" baseline="0" smtClean="0"/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1223324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975D1B44-661B-4F7B-B8A0-9C458417D6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06E269-83F5-4510-A180-109E926BB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44319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1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06E269-83F5-4510-A180-109E926BB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6743208-2407-42A5-AA96-0B30899A9CB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id="{EE021D34-D41C-4EE9-A72D-F8D1E4D6942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525928"/>
            <a:ext cx="831189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id="{2A02F3DA-248E-4A50-B54D-BAD18BAB325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73736"/>
            <a:ext cx="8311896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D1A1691-03F4-4B0C-8CAB-F8163BA548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2D9802C1-17F2-4D5F-804F-01991074A31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DDE7FD00-47B4-4101-9C87-415DAC08A93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735543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B2D7514F-25FA-4E78-87EA-9310B6315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7795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1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B2D7514F-25FA-4E78-87EA-9310B6315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2841F1-1D64-4B85-BE8E-90E9A69032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34B9D0F-511D-4CA0-B397-BC4944905EF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A8B4F948-0FE2-4D04-9E39-993C069D179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CB91F29-3E8E-4E50-9B98-43F571F5A08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EEB17CCB-26D9-483F-95BA-B527BFDD8A8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1706565"/>
            <a:ext cx="2859786" cy="677108"/>
          </a:xfr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0ABC9AF6-5160-4451-8ECE-0567926D2BD3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15319671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F2127110-9E20-4E63-ACC1-B73E30E4EF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5216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3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F2127110-9E20-4E63-ACC1-B73E30E4E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EFDF5F6E-91B7-43FD-B50F-BF43CDA9D0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372AF80-95E2-4967-843F-6B78079F3DA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B107E86E-11CB-41EA-8315-43579BB9C69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6C43D9FF-C745-43A0-B707-D5AB591FB4E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44AA57B-050A-470F-B9D0-A7EB19B84B1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3090450"/>
            <a:ext cx="3799332" cy="677108"/>
          </a:xfr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D5D9F919-7521-44EA-9A91-4EC8F5D22109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0686426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E78EB6-BD2E-4D6E-862A-ED6E403B3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4849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E78EB6-BD2E-4D6E-862A-ED6E403B3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6BAF-DF7E-4BB6-8200-BAE77C25D7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6FE1FF87-A5BB-4972-8F6E-73AA93FD3E6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7C40733-AAB6-4B1C-9ABF-846569264BB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38FBD4B-CFE7-4BEF-A65B-0A0DFEA034F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4AEBFE-694A-4920-8CC4-377AC0DC09A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4919246"/>
            <a:ext cx="8311896" cy="338554"/>
          </a:xfrm>
        </p:spPr>
        <p:txBody>
          <a:bodyPr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4F0D16F9-FC38-440D-888F-B825EE88DEB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9434852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2EA9AE-E627-47C3-91DC-8CA9CDA2B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462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87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2EA9AE-E627-47C3-91DC-8CA9CDA2B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1939BA-D839-448F-8D61-AD5761E2C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66AA477A-2870-4EE9-86E9-448D3B9BAF8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C9713CF-4FEA-4739-B0A0-6B196442AEE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128368CE-BC61-4E6B-9355-7EB40FD80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DDFB2F31-2EDC-46B3-BDCC-C30160A548A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129284" y="3841050"/>
            <a:ext cx="6885432" cy="330796"/>
          </a:xfrm>
        </p:spPr>
        <p:txBody>
          <a:bodyPr anchor="b" anchorCtr="0">
            <a:spAutoFit/>
          </a:bodyPr>
          <a:lstStyle>
            <a:lvl1pPr>
              <a:lnSpc>
                <a:spcPct val="105000"/>
              </a:lnSpc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09099F88-5FFB-4FF9-8B62-5EF51181A82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1129284" y="4284630"/>
            <a:ext cx="6885432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5D34B3BD-8BCA-4033-B144-D029D5A61619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439105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2EA9AE-E627-47C3-91DC-8CA9CDA2B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2235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2EA9AE-E627-47C3-91DC-8CA9CDA2B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1939BA-D839-448F-8D61-AD5761E2C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66AA477A-2870-4EE9-86E9-448D3B9BAF8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C9713CF-4FEA-4739-B0A0-6B196442AEE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128368CE-BC61-4E6B-9355-7EB40FD80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DDFB2F31-2EDC-46B3-BDCC-C30160A548A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129284" y="3841050"/>
            <a:ext cx="6885432" cy="330796"/>
          </a:xfrm>
        </p:spPr>
        <p:txBody>
          <a:bodyPr anchor="b" anchorCtr="0">
            <a:spAutoFit/>
          </a:bodyPr>
          <a:lstStyle>
            <a:lvl1pPr>
              <a:lnSpc>
                <a:spcPct val="105000"/>
              </a:lnSpc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09099F88-5FFB-4FF9-8B62-5EF51181A82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1129284" y="4284630"/>
            <a:ext cx="6885432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5D34B3BD-8BCA-4033-B144-D029D5A61619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F17934EB-F2F5-451C-8BFA-F1B57B7FE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128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11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F17934EB-F2F5-451C-8BFA-F1B57B7FE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994B40-DF0F-4EE0-8098-73DBD5C3F7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2560320" y="0"/>
            <a:ext cx="6583680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1" name="Slide Number">
            <a:extLst>
              <a:ext uri="{FF2B5EF4-FFF2-40B4-BE49-F238E27FC236}">
                <a16:creationId xmlns:a16="http://schemas.microsoft.com/office/drawing/2014/main" id="{BE2CCBC0-C6F2-40FC-91A9-0C10FE38C17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71220653-0E59-43CC-9608-6D9E9A9A645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1890839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C94DE74-BFF3-427D-B1EB-6EC01224A2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41597"/>
            <a:ext cx="1890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7EC052A-7EEB-4E98-B92D-8E3E6C89311C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1163" y="3636552"/>
            <a:ext cx="1890839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6EDF22DC-CFC6-49A3-985F-D21B951A77A3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11163" y="2502261"/>
            <a:ext cx="1890839" cy="101566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44C1EF3F-8633-48A1-9E13-6964B8387937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1504698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317DDE9-4510-4ADA-BC78-E96D24597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501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35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317DDE9-4510-4ADA-BC78-E96D24597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30D7698A-7001-41A3-B997-323E2D93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3273552" y="0"/>
            <a:ext cx="587044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FD54F44A-AA88-4B28-88CB-9DD6BDA16D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9E8DABE5-6099-4D42-9730-B3FED1A8FD55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2607005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F2D8FBFF-13B8-4394-9AF5-D206F6B8DF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8C5B63D-E9C7-4AF1-8B9D-DBEF74F2CE5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1163" y="2840816"/>
            <a:ext cx="2607005" cy="677108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302CFF5-7D13-40E9-B0FB-8BC438F87D7F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1163" y="3636552"/>
            <a:ext cx="2596896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C6F7C55D-688F-462A-99C0-63216457577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7244696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8063F9-BD79-4AC7-AE37-FA41373B0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7725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59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8063F9-BD79-4AC7-AE37-FA41373B0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7D5CD0B7-78F0-4D90-8217-39B2ABEF29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189FC83F-F940-442F-8A4B-3FFD875A4CE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0AB58A89-F6F4-4862-B0B6-9B56563426ED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3869385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0C43D9A-8871-4E21-8014-7D0511A34A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D0AE5B54-AB0E-4484-9346-E286DDC6EE2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6052" y="173736"/>
            <a:ext cx="3869385" cy="338554"/>
          </a:xfrm>
        </p:spPr>
        <p:txBody>
          <a:bodyPr wrap="square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515FD66B-17DF-4FD2-AACA-1776A172332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6052" y="525928"/>
            <a:ext cx="386938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F6423CDC-10C6-4893-AAB3-4DC3BAB587D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7227736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874AD5-EF74-4210-B94F-F40285F6D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1103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83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874AD5-EF74-4210-B94F-F40285F6D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D1DF5CE8-D561-43C7-AB94-A5D89A58CD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0151F0BA-80A8-4F21-BC61-52898A9C097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D3CEBF83-E241-4D4D-9783-E5C68CC3AF4E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5225477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4B1AC38-9340-4F04-B7F9-727A4C19843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E0989CC3-989C-4053-8FFF-166827696BD9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6052" y="173736"/>
            <a:ext cx="5225477" cy="338554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74755987-3A66-4AF7-AF0A-FD37AD28002D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6052" y="525928"/>
            <a:ext cx="5225477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C494F823-6042-40C6-94CD-0F980C6F2DF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7706401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41193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07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CB8AD3-3DED-4C3C-8856-6127F6F35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0F3E7B1-38C8-4558-A8C6-99F73B7D438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E3119B5-3D7F-4B88-8761-E5447BB52B0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1" y="6501669"/>
            <a:ext cx="594360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2B2936D-0579-49C0-B9F2-C284240312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126BA874-D683-4AD6-9136-C6CB0A000745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6052" y="173736"/>
            <a:ext cx="5943600" cy="3385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014A53DA-65EF-4EBF-B2CC-035C915C32E5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6052" y="525928"/>
            <a:ext cx="5943600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4BA71C2D-8769-4A52-BEB4-7C780187BFA1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352917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B36C25-3154-4643-A5D1-40C663C761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2296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1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B36C25-3154-4643-A5D1-40C663C76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261CA95-BAC8-4094-B77C-B413C63AA4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3736"/>
            <a:ext cx="8311896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F5AB69F0-0252-4F2C-9F5C-D4F8BF35BCB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algn="r" defTabSz="458047" rtl="0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marL="0" algn="r" defTabSz="458047" rtl="0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E3C08BE2-DFA5-4DF3-81CF-C757EBD94F2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7765112B-94E4-48E7-B473-F1F8C57D1D8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5B035A1A-50B6-45E3-9869-D14473D397A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09901786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5F7C92-D5CD-4EDC-B5FB-B32BFADF4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152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5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5F7C92-D5CD-4EDC-B5FB-B32BFADF4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">
            <a:extLst>
              <a:ext uri="{FF2B5EF4-FFF2-40B4-BE49-F238E27FC236}">
                <a16:creationId xmlns:a16="http://schemas.microsoft.com/office/drawing/2014/main" id="{E008B892-7EEF-40A7-8714-CA703035E12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047C437-9378-4088-A289-F201ABA447D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33AE1560-579C-459C-A40A-D7865DE59B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6" name="Documenttype">
            <a:extLst>
              <a:ext uri="{FF2B5EF4-FFF2-40B4-BE49-F238E27FC236}">
                <a16:creationId xmlns:a16="http://schemas.microsoft.com/office/drawing/2014/main" id="{49991C03-7F48-47F1-B3A9-19D7D1A4653F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52000216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1C6EC4AA-6C84-4EF6-AF4D-BE24FEED67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6168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7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1C6EC4AA-6C84-4EF6-AF4D-BE24FEED6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E4946286-E3E6-424F-8C6C-3D00E8A0D3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4" name="Documenttype">
            <a:extLst>
              <a:ext uri="{FF2B5EF4-FFF2-40B4-BE49-F238E27FC236}">
                <a16:creationId xmlns:a16="http://schemas.microsoft.com/office/drawing/2014/main" id="{3925F7DB-235B-4011-96E3-49D4B5E6FEEF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70607754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2124968"/>
            <a:ext cx="6858000" cy="1384995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276999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2/4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22505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23D28-6A1E-4FD6-BF76-460C8E767576}" type="datetimeFigureOut">
              <a:rPr lang="en-US" smtClean="0"/>
              <a:t>2/4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564EF2-3EFA-4B06-B5BC-1855B6598F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4017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F17934EB-F2F5-451C-8BFA-F1B57B7FE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3571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F17934EB-F2F5-451C-8BFA-F1B57B7FE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994B40-DF0F-4EE0-8098-73DBD5C3F7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2560320" y="0"/>
            <a:ext cx="6583680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1" name="Slide Number">
            <a:extLst>
              <a:ext uri="{FF2B5EF4-FFF2-40B4-BE49-F238E27FC236}">
                <a16:creationId xmlns:a16="http://schemas.microsoft.com/office/drawing/2014/main" id="{BE2CCBC0-C6F2-40FC-91A9-0C10FE38C17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71220653-0E59-43CC-9608-6D9E9A9A645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1890839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C94DE74-BFF3-427D-B1EB-6EC01224A2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3" y="41597"/>
            <a:ext cx="1890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7EC052A-7EEB-4E98-B92D-8E3E6C89311C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1163" y="3636552"/>
            <a:ext cx="1890839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6EDF22DC-CFC6-49A3-985F-D21B951A77A3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11163" y="2502261"/>
            <a:ext cx="1890839" cy="101566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44C1EF3F-8633-48A1-9E13-6964B8387937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235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308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2114" y="2406303"/>
            <a:ext cx="7487877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12114" y="4539678"/>
            <a:ext cx="74861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2114" y="3611490"/>
            <a:ext cx="748610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943600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12114" y="579111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70782699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06E269-83F5-4510-A180-109E926BB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282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332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06E269-83F5-4510-A180-109E926BB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6743208-2407-42A5-AA96-0B30899A9C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id="{EE021D34-D41C-4EE9-A72D-F8D1E4D6942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525928"/>
            <a:ext cx="8311896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id="{2A02F3DA-248E-4A50-B54D-BAD18BAB325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73736"/>
            <a:ext cx="8311896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D1A1691-03F4-4B0C-8CAB-F8163BA54877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ltGray">
          <a:xfrm>
            <a:off x="8476488" y="666942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2D9802C1-17F2-4D5F-804F-01991074A3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DDE7FD00-47B4-4101-9C87-415DAC08A93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335AEFB6-D0FB-42BD-A7D9-B038003F9038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1912750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B2D7514F-25FA-4E78-87EA-9310B6315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941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5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B2D7514F-25FA-4E78-87EA-9310B6315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2841F1-1D64-4B85-BE8E-90E9A69032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34B9D0F-511D-4CA0-B397-BC4944905EF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A8B4F948-0FE2-4D04-9E39-993C069D179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CB91F29-3E8E-4E50-9B98-43F571F5A08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EEB17CCB-26D9-483F-95BA-B527BFDD8A8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1706565"/>
            <a:ext cx="2859786" cy="677108"/>
          </a:xfr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9F978F88-888E-4902-AE4E-763730DFD54F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6995620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F2127110-9E20-4E63-ACC1-B73E30E4EF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1554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8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F2127110-9E20-4E63-ACC1-B73E30E4E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EFDF5F6E-91B7-43FD-B50F-BF43CDA9D0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372AF80-95E2-4967-843F-6B78079F3DA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B107E86E-11CB-41EA-8315-43579BB9C69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6C43D9FF-C745-43A0-B707-D5AB591FB4E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44AA57B-050A-470F-B9D0-A7EB19B84B1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3090450"/>
            <a:ext cx="3799332" cy="677108"/>
          </a:xfr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D55D8EEB-2BE1-4282-98D8-53EF303E8282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FF46468E-B5D9-4D46-B53F-92250D42CD9A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39293471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E78EB6-BD2E-4D6E-862A-ED6E403B3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492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40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E78EB6-BD2E-4D6E-862A-ED6E403B3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6BAF-DF7E-4BB6-8200-BAE77C25D7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7C40733-AAB6-4B1C-9ABF-846569264BB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38FBD4B-CFE7-4BEF-A65B-0A0DFEA034F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4AEBFE-694A-4920-8CC4-377AC0DC09A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4919246"/>
            <a:ext cx="8311896" cy="338554"/>
          </a:xfrm>
        </p:spPr>
        <p:txBody>
          <a:bodyPr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71BC29E-3439-42EF-857A-06339F96CBB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37CB39DD-EF4E-42C9-A79F-7772D544B1BC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04707270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2EA9AE-E627-47C3-91DC-8CA9CDA2B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8082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28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2EA9AE-E627-47C3-91DC-8CA9CDA2B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1939BA-D839-448F-8D61-AD5761E2C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C9713CF-4FEA-4739-B0A0-6B196442AEE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128368CE-BC61-4E6B-9355-7EB40FD80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DDFB2F31-2EDC-46B3-BDCC-C30160A548A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129284" y="3841050"/>
            <a:ext cx="6885432" cy="330796"/>
          </a:xfrm>
        </p:spPr>
        <p:txBody>
          <a:bodyPr anchor="b" anchorCtr="0">
            <a:spAutoFit/>
          </a:bodyPr>
          <a:lstStyle>
            <a:lvl1pPr>
              <a:lnSpc>
                <a:spcPct val="105000"/>
              </a:lnSpc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09099F88-5FFB-4FF9-8B62-5EF51181A82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1129284" y="4284630"/>
            <a:ext cx="6885432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4794E3C-7711-4AF2-84E5-0B386A07C84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FD552472-5C1D-460A-A4B4-6CF2E8B85AE3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30300416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F17934EB-F2F5-451C-8BFA-F1B57B7FE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505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5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F17934EB-F2F5-451C-8BFA-F1B57B7FE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994B40-DF0F-4EE0-8098-73DBD5C3F7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2560320" y="0"/>
            <a:ext cx="6583680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71220653-0E59-43CC-9608-6D9E9A9A645B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416052" y="6501669"/>
            <a:ext cx="1890839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C94DE74-BFF3-427D-B1EB-6EC01224A2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3" y="41597"/>
            <a:ext cx="1890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7EC052A-7EEB-4E98-B92D-8E3E6C89311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1163" y="3636552"/>
            <a:ext cx="1890839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6EDF22DC-CFC6-49A3-985F-D21B951A77A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1163" y="2502261"/>
            <a:ext cx="1890839" cy="101566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F463310E-A1CE-491A-A58B-9DF9FAD834F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2419FD05-7C22-4B7B-A703-31F91DCDD9EF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08203462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317DDE9-4510-4ADA-BC78-E96D24597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738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7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317DDE9-4510-4ADA-BC78-E96D24597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30D7698A-7001-41A3-B997-323E2D93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3273552" y="0"/>
            <a:ext cx="587044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9E8DABE5-6099-4D42-9730-B3FED1A8FD55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416052" y="6501669"/>
            <a:ext cx="2607005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F2D8FBFF-13B8-4394-9AF5-D206F6B8DF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8C5B63D-E9C7-4AF1-8B9D-DBEF74F2CE5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1163" y="2840816"/>
            <a:ext cx="2607005" cy="677108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302CFF5-7D13-40E9-B0FB-8BC438F87D7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1163" y="3636552"/>
            <a:ext cx="2596896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297D7C76-C65E-4CC9-A67E-4696F7C9613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F3F73D64-B470-4557-8F79-8782F469C850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66321131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8063F9-BD79-4AC7-AE37-FA41373B0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827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500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8063F9-BD79-4AC7-AE37-FA41373B0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7D5CD0B7-78F0-4D90-8217-39B2ABEF29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0AB58A89-F6F4-4862-B0B6-9B56563426ED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416052" y="6501669"/>
            <a:ext cx="3869385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0C43D9A-8871-4E21-8014-7D0511A34A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D0AE5B54-AB0E-4484-9346-E286DDC6EE2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173736"/>
            <a:ext cx="3869385" cy="338554"/>
          </a:xfrm>
        </p:spPr>
        <p:txBody>
          <a:bodyPr wrap="square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515FD66B-17DF-4FD2-AACA-1776A172332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6052" y="525928"/>
            <a:ext cx="386938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0AA6CB2-9326-44D6-9F1F-EBBC1FF3295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B76ACF59-02C1-479D-897F-32A99C4BF1B1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57154848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874AD5-EF74-4210-B94F-F40285F6D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728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24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874AD5-EF74-4210-B94F-F40285F6D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D1DF5CE8-D561-43C7-AB94-A5D89A58CD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D3CEBF83-E241-4D4D-9783-E5C68CC3AF4E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416052" y="6501669"/>
            <a:ext cx="5225477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4B1AC38-9340-4F04-B7F9-727A4C19843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E0989CC3-989C-4053-8FFF-166827696BD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173736"/>
            <a:ext cx="5225477" cy="338554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74755987-3A66-4AF7-AF0A-FD37AD28002D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6052" y="525928"/>
            <a:ext cx="5225477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A176909-1827-47A3-9269-999921D650E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E7EE37E3-110B-4CCF-BDA9-78DE4A64FA36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5640977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317DDE9-4510-4ADA-BC78-E96D24597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419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317DDE9-4510-4ADA-BC78-E96D24597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30D7698A-7001-41A3-B997-323E2D93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3273552" y="0"/>
            <a:ext cx="587044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FD54F44A-AA88-4B28-88CB-9DD6BDA16D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501669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9E8DABE5-6099-4D42-9730-B3FED1A8FD55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16052" y="6501669"/>
            <a:ext cx="2607005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F2D8FBFF-13B8-4394-9AF5-D206F6B8DF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8C5B63D-E9C7-4AF1-8B9D-DBEF74F2CE5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1163" y="2840816"/>
            <a:ext cx="2607005" cy="677108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302CFF5-7D13-40E9-B0FB-8BC438F87D7F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411163" y="3636552"/>
            <a:ext cx="2596896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C6F7C55D-688F-462A-99C0-63216457577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037533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54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CB8AD3-3DED-4C3C-8856-6127F6F35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E3119B5-3D7F-4B88-8761-E5447BB52B0A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416051" y="6501669"/>
            <a:ext cx="594360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2B2936D-0579-49C0-B9F2-C284240312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126BA874-D683-4AD6-9136-C6CB0A00074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173736"/>
            <a:ext cx="5943600" cy="3385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014A53DA-65EF-4EBF-B2CC-035C915C32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6052" y="525928"/>
            <a:ext cx="5943600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FC049C98-96F1-4F55-B79F-1572DAC8C7D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61C2D8E6-F8F1-4FA3-994A-119390ACFF51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06112235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B36C25-3154-4643-A5D1-40C663C761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781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572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B36C25-3154-4643-A5D1-40C663C76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261CA95-BAC8-4094-B77C-B413C63AA4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73736"/>
            <a:ext cx="8311896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E3C08BE2-DFA5-4DF3-81CF-C757EBD94F2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7765112B-94E4-48E7-B473-F1F8C57D1D8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BFF4B3B8-EB8B-4398-9258-E4FEB275732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1A6FC294-D020-45FF-B13F-B960E542BFDC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8757945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5F7C92-D5CD-4EDC-B5FB-B32BFADF4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5164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59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5F7C92-D5CD-4EDC-B5FB-B32BFADF4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047C437-9378-4088-A289-F201ABA447D1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33AE1560-579C-459C-A40A-D7865DE59B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416052" y="41597"/>
            <a:ext cx="27652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882B8BD-EE7D-4A81-AADC-1A688E7F0FD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253ABF71-6503-4C48-B2E1-8F33E6AC9ABD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51936918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1C6EC4AA-6C84-4EF6-AF4D-BE24FEED67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7764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2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1C6EC4AA-6C84-4EF6-AF4D-BE24FEED6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E4946286-E3E6-424F-8C6C-3D00E8A0D3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10773ED9-681A-4C23-9D46-B6F2680699C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8476488" y="6637674"/>
            <a:ext cx="2441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Documenttype">
            <a:extLst>
              <a:ext uri="{FF2B5EF4-FFF2-40B4-BE49-F238E27FC236}">
                <a16:creationId xmlns:a16="http://schemas.microsoft.com/office/drawing/2014/main" id="{B44DD919-5728-4942-B695-1A8A92813B5B}"/>
              </a:ext>
            </a:extLst>
          </p:cNvPr>
          <p:cNvSpPr txBox="1">
            <a:spLocks/>
          </p:cNvSpPr>
          <p:nvPr userDrawn="1"/>
        </p:nvSpPr>
        <p:spPr>
          <a:xfrm>
            <a:off x="309729" y="6427334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708491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9.xml"/><Relationship Id="rId39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tags" Target="../tags/tag2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137.xml"/><Relationship Id="rId26" Type="http://schemas.openxmlformats.org/officeDocument/2006/relationships/tags" Target="../tags/tag145.xml"/><Relationship Id="rId39" Type="http://schemas.openxmlformats.org/officeDocument/2006/relationships/image" Target="../media/image3.emf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140.xml"/><Relationship Id="rId34" Type="http://schemas.openxmlformats.org/officeDocument/2006/relationships/tags" Target="../tags/tag153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ags" Target="../tags/tag136.xml"/><Relationship Id="rId25" Type="http://schemas.openxmlformats.org/officeDocument/2006/relationships/tags" Target="../tags/tag144.xml"/><Relationship Id="rId33" Type="http://schemas.openxmlformats.org/officeDocument/2006/relationships/tags" Target="../tags/tag152.xml"/><Relationship Id="rId38" Type="http://schemas.openxmlformats.org/officeDocument/2006/relationships/oleObject" Target="../embeddings/oleObject17.bin"/><Relationship Id="rId2" Type="http://schemas.openxmlformats.org/officeDocument/2006/relationships/slideLayout" Target="../slideLayouts/slideLayout18.xml"/><Relationship Id="rId16" Type="http://schemas.openxmlformats.org/officeDocument/2006/relationships/vmlDrawing" Target="../drawings/vmlDrawing17.vml"/><Relationship Id="rId20" Type="http://schemas.openxmlformats.org/officeDocument/2006/relationships/tags" Target="../tags/tag139.xml"/><Relationship Id="rId29" Type="http://schemas.openxmlformats.org/officeDocument/2006/relationships/tags" Target="../tags/tag14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tags" Target="../tags/tag143.xml"/><Relationship Id="rId32" Type="http://schemas.openxmlformats.org/officeDocument/2006/relationships/tags" Target="../tags/tag151.xml"/><Relationship Id="rId37" Type="http://schemas.openxmlformats.org/officeDocument/2006/relationships/tags" Target="../tags/tag156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23" Type="http://schemas.openxmlformats.org/officeDocument/2006/relationships/tags" Target="../tags/tag142.xml"/><Relationship Id="rId28" Type="http://schemas.openxmlformats.org/officeDocument/2006/relationships/tags" Target="../tags/tag147.xml"/><Relationship Id="rId36" Type="http://schemas.openxmlformats.org/officeDocument/2006/relationships/tags" Target="../tags/tag155.xml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138.xml"/><Relationship Id="rId31" Type="http://schemas.openxmlformats.org/officeDocument/2006/relationships/tags" Target="../tags/tag150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tags" Target="../tags/tag141.xml"/><Relationship Id="rId27" Type="http://schemas.openxmlformats.org/officeDocument/2006/relationships/tags" Target="../tags/tag146.xml"/><Relationship Id="rId30" Type="http://schemas.openxmlformats.org/officeDocument/2006/relationships/tags" Target="../tags/tag149.xml"/><Relationship Id="rId35" Type="http://schemas.openxmlformats.org/officeDocument/2006/relationships/tags" Target="../tags/tag15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tags" Target="../tags/tag252.xml"/><Relationship Id="rId39" Type="http://schemas.openxmlformats.org/officeDocument/2006/relationships/tags" Target="../tags/tag265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247.xml"/><Relationship Id="rId34" Type="http://schemas.openxmlformats.org/officeDocument/2006/relationships/tags" Target="../tags/tag260.xml"/><Relationship Id="rId42" Type="http://schemas.openxmlformats.org/officeDocument/2006/relationships/tags" Target="../tags/tag268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tags" Target="../tags/tag251.xml"/><Relationship Id="rId33" Type="http://schemas.openxmlformats.org/officeDocument/2006/relationships/tags" Target="../tags/tag259.xml"/><Relationship Id="rId38" Type="http://schemas.openxmlformats.org/officeDocument/2006/relationships/tags" Target="../tags/tag264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vmlDrawing" Target="../drawings/vmlDrawing32.vml"/><Relationship Id="rId29" Type="http://schemas.openxmlformats.org/officeDocument/2006/relationships/tags" Target="../tags/tag255.xml"/><Relationship Id="rId41" Type="http://schemas.openxmlformats.org/officeDocument/2006/relationships/tags" Target="../tags/tag267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tags" Target="../tags/tag250.xml"/><Relationship Id="rId32" Type="http://schemas.openxmlformats.org/officeDocument/2006/relationships/tags" Target="../tags/tag258.xml"/><Relationship Id="rId37" Type="http://schemas.openxmlformats.org/officeDocument/2006/relationships/tags" Target="../tags/tag263.xml"/><Relationship Id="rId40" Type="http://schemas.openxmlformats.org/officeDocument/2006/relationships/tags" Target="../tags/tag266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tags" Target="../tags/tag249.xml"/><Relationship Id="rId28" Type="http://schemas.openxmlformats.org/officeDocument/2006/relationships/tags" Target="../tags/tag254.xml"/><Relationship Id="rId36" Type="http://schemas.openxmlformats.org/officeDocument/2006/relationships/tags" Target="../tags/tag262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3.xml"/><Relationship Id="rId31" Type="http://schemas.openxmlformats.org/officeDocument/2006/relationships/tags" Target="../tags/tag257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tags" Target="../tags/tag248.xml"/><Relationship Id="rId27" Type="http://schemas.openxmlformats.org/officeDocument/2006/relationships/tags" Target="../tags/tag253.xml"/><Relationship Id="rId30" Type="http://schemas.openxmlformats.org/officeDocument/2006/relationships/tags" Target="../tags/tag256.xml"/><Relationship Id="rId35" Type="http://schemas.openxmlformats.org/officeDocument/2006/relationships/tags" Target="../tags/tag261.xml"/><Relationship Id="rId43" Type="http://schemas.openxmlformats.org/officeDocument/2006/relationships/oleObject" Target="../embeddings/oleObject32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tags" Target="../tags/tag386.xml"/><Relationship Id="rId26" Type="http://schemas.openxmlformats.org/officeDocument/2006/relationships/tags" Target="../tags/tag394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51.xml"/><Relationship Id="rId21" Type="http://schemas.openxmlformats.org/officeDocument/2006/relationships/tags" Target="../tags/tag389.xml"/><Relationship Id="rId34" Type="http://schemas.openxmlformats.org/officeDocument/2006/relationships/tags" Target="../tags/tag402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tags" Target="../tags/tag385.xml"/><Relationship Id="rId25" Type="http://schemas.openxmlformats.org/officeDocument/2006/relationships/tags" Target="../tags/tag393.xml"/><Relationship Id="rId33" Type="http://schemas.openxmlformats.org/officeDocument/2006/relationships/tags" Target="../tags/tag401.xml"/><Relationship Id="rId38" Type="http://schemas.openxmlformats.org/officeDocument/2006/relationships/oleObject" Target="../embeddings/oleObject50.bin"/><Relationship Id="rId2" Type="http://schemas.openxmlformats.org/officeDocument/2006/relationships/slideLayout" Target="../slideLayouts/slideLayout50.xml"/><Relationship Id="rId16" Type="http://schemas.openxmlformats.org/officeDocument/2006/relationships/vmlDrawing" Target="../drawings/vmlDrawing50.vml"/><Relationship Id="rId20" Type="http://schemas.openxmlformats.org/officeDocument/2006/relationships/tags" Target="../tags/tag388.xml"/><Relationship Id="rId29" Type="http://schemas.openxmlformats.org/officeDocument/2006/relationships/tags" Target="../tags/tag39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tags" Target="../tags/tag392.xml"/><Relationship Id="rId32" Type="http://schemas.openxmlformats.org/officeDocument/2006/relationships/tags" Target="../tags/tag400.xml"/><Relationship Id="rId37" Type="http://schemas.openxmlformats.org/officeDocument/2006/relationships/tags" Target="../tags/tag405.xml"/><Relationship Id="rId5" Type="http://schemas.openxmlformats.org/officeDocument/2006/relationships/slideLayout" Target="../slideLayouts/slideLayout53.xml"/><Relationship Id="rId15" Type="http://schemas.openxmlformats.org/officeDocument/2006/relationships/theme" Target="../theme/theme4.xml"/><Relationship Id="rId23" Type="http://schemas.openxmlformats.org/officeDocument/2006/relationships/tags" Target="../tags/tag391.xml"/><Relationship Id="rId28" Type="http://schemas.openxmlformats.org/officeDocument/2006/relationships/tags" Target="../tags/tag396.xml"/><Relationship Id="rId36" Type="http://schemas.openxmlformats.org/officeDocument/2006/relationships/tags" Target="../tags/tag404.xml"/><Relationship Id="rId10" Type="http://schemas.openxmlformats.org/officeDocument/2006/relationships/slideLayout" Target="../slideLayouts/slideLayout58.xml"/><Relationship Id="rId19" Type="http://schemas.openxmlformats.org/officeDocument/2006/relationships/tags" Target="../tags/tag387.xml"/><Relationship Id="rId31" Type="http://schemas.openxmlformats.org/officeDocument/2006/relationships/tags" Target="../tags/tag399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tags" Target="../tags/tag390.xml"/><Relationship Id="rId27" Type="http://schemas.openxmlformats.org/officeDocument/2006/relationships/tags" Target="../tags/tag395.xml"/><Relationship Id="rId30" Type="http://schemas.openxmlformats.org/officeDocument/2006/relationships/tags" Target="../tags/tag398.xml"/><Relationship Id="rId35" Type="http://schemas.openxmlformats.org/officeDocument/2006/relationships/tags" Target="../tags/tag40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theme" Target="../theme/theme5.xml"/><Relationship Id="rId26" Type="http://schemas.openxmlformats.org/officeDocument/2006/relationships/tags" Target="../tags/tag505.xml"/><Relationship Id="rId39" Type="http://schemas.openxmlformats.org/officeDocument/2006/relationships/tags" Target="../tags/tag518.xml"/><Relationship Id="rId3" Type="http://schemas.openxmlformats.org/officeDocument/2006/relationships/slideLayout" Target="../slideLayouts/slideLayout65.xml"/><Relationship Id="rId21" Type="http://schemas.openxmlformats.org/officeDocument/2006/relationships/tags" Target="../tags/tag500.xml"/><Relationship Id="rId34" Type="http://schemas.openxmlformats.org/officeDocument/2006/relationships/tags" Target="../tags/tag513.xml"/><Relationship Id="rId42" Type="http://schemas.openxmlformats.org/officeDocument/2006/relationships/oleObject" Target="../embeddings/oleObject65.bin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tags" Target="../tags/tag504.xml"/><Relationship Id="rId33" Type="http://schemas.openxmlformats.org/officeDocument/2006/relationships/tags" Target="../tags/tag512.xml"/><Relationship Id="rId38" Type="http://schemas.openxmlformats.org/officeDocument/2006/relationships/tags" Target="../tags/tag517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tags" Target="../tags/tag499.xml"/><Relationship Id="rId29" Type="http://schemas.openxmlformats.org/officeDocument/2006/relationships/tags" Target="../tags/tag508.xml"/><Relationship Id="rId41" Type="http://schemas.openxmlformats.org/officeDocument/2006/relationships/tags" Target="../tags/tag520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tags" Target="../tags/tag503.xml"/><Relationship Id="rId32" Type="http://schemas.openxmlformats.org/officeDocument/2006/relationships/tags" Target="../tags/tag511.xml"/><Relationship Id="rId37" Type="http://schemas.openxmlformats.org/officeDocument/2006/relationships/tags" Target="../tags/tag516.xml"/><Relationship Id="rId40" Type="http://schemas.openxmlformats.org/officeDocument/2006/relationships/tags" Target="../tags/tag519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tags" Target="../tags/tag502.xml"/><Relationship Id="rId28" Type="http://schemas.openxmlformats.org/officeDocument/2006/relationships/tags" Target="../tags/tag507.xml"/><Relationship Id="rId36" Type="http://schemas.openxmlformats.org/officeDocument/2006/relationships/tags" Target="../tags/tag515.xml"/><Relationship Id="rId10" Type="http://schemas.openxmlformats.org/officeDocument/2006/relationships/slideLayout" Target="../slideLayouts/slideLayout72.xml"/><Relationship Id="rId19" Type="http://schemas.openxmlformats.org/officeDocument/2006/relationships/vmlDrawing" Target="../drawings/vmlDrawing65.vml"/><Relationship Id="rId31" Type="http://schemas.openxmlformats.org/officeDocument/2006/relationships/tags" Target="../tags/tag510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tags" Target="../tags/tag501.xml"/><Relationship Id="rId27" Type="http://schemas.openxmlformats.org/officeDocument/2006/relationships/tags" Target="../tags/tag506.xml"/><Relationship Id="rId30" Type="http://schemas.openxmlformats.org/officeDocument/2006/relationships/tags" Target="../tags/tag509.xml"/><Relationship Id="rId35" Type="http://schemas.openxmlformats.org/officeDocument/2006/relationships/tags" Target="../tags/tag514.xml"/><Relationship Id="rId43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tags" Target="../tags/tag633.xml"/><Relationship Id="rId26" Type="http://schemas.openxmlformats.org/officeDocument/2006/relationships/tags" Target="../tags/tag641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82.xml"/><Relationship Id="rId21" Type="http://schemas.openxmlformats.org/officeDocument/2006/relationships/tags" Target="../tags/tag636.xml"/><Relationship Id="rId34" Type="http://schemas.openxmlformats.org/officeDocument/2006/relationships/tags" Target="../tags/tag649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tags" Target="../tags/tag632.xml"/><Relationship Id="rId25" Type="http://schemas.openxmlformats.org/officeDocument/2006/relationships/tags" Target="../tags/tag640.xml"/><Relationship Id="rId33" Type="http://schemas.openxmlformats.org/officeDocument/2006/relationships/tags" Target="../tags/tag648.xml"/><Relationship Id="rId38" Type="http://schemas.openxmlformats.org/officeDocument/2006/relationships/oleObject" Target="../embeddings/oleObject81.bin"/><Relationship Id="rId2" Type="http://schemas.openxmlformats.org/officeDocument/2006/relationships/slideLayout" Target="../slideLayouts/slideLayout81.xml"/><Relationship Id="rId16" Type="http://schemas.openxmlformats.org/officeDocument/2006/relationships/vmlDrawing" Target="../drawings/vmlDrawing81.vml"/><Relationship Id="rId20" Type="http://schemas.openxmlformats.org/officeDocument/2006/relationships/tags" Target="../tags/tag635.xml"/><Relationship Id="rId29" Type="http://schemas.openxmlformats.org/officeDocument/2006/relationships/tags" Target="../tags/tag644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tags" Target="../tags/tag639.xml"/><Relationship Id="rId32" Type="http://schemas.openxmlformats.org/officeDocument/2006/relationships/tags" Target="../tags/tag647.xml"/><Relationship Id="rId37" Type="http://schemas.openxmlformats.org/officeDocument/2006/relationships/tags" Target="../tags/tag652.xml"/><Relationship Id="rId5" Type="http://schemas.openxmlformats.org/officeDocument/2006/relationships/slideLayout" Target="../slideLayouts/slideLayout84.xml"/><Relationship Id="rId15" Type="http://schemas.openxmlformats.org/officeDocument/2006/relationships/theme" Target="../theme/theme6.xml"/><Relationship Id="rId23" Type="http://schemas.openxmlformats.org/officeDocument/2006/relationships/tags" Target="../tags/tag638.xml"/><Relationship Id="rId28" Type="http://schemas.openxmlformats.org/officeDocument/2006/relationships/tags" Target="../tags/tag643.xml"/><Relationship Id="rId36" Type="http://schemas.openxmlformats.org/officeDocument/2006/relationships/tags" Target="../tags/tag651.xml"/><Relationship Id="rId10" Type="http://schemas.openxmlformats.org/officeDocument/2006/relationships/slideLayout" Target="../slideLayouts/slideLayout89.xml"/><Relationship Id="rId19" Type="http://schemas.openxmlformats.org/officeDocument/2006/relationships/tags" Target="../tags/tag634.xml"/><Relationship Id="rId31" Type="http://schemas.openxmlformats.org/officeDocument/2006/relationships/tags" Target="../tags/tag646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tags" Target="../tags/tag637.xml"/><Relationship Id="rId27" Type="http://schemas.openxmlformats.org/officeDocument/2006/relationships/tags" Target="../tags/tag642.xml"/><Relationship Id="rId30" Type="http://schemas.openxmlformats.org/officeDocument/2006/relationships/tags" Target="../tags/tag645.xml"/><Relationship Id="rId35" Type="http://schemas.openxmlformats.org/officeDocument/2006/relationships/tags" Target="../tags/tag6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8963AA3D-EFA3-4938-9D41-C8DDC03F7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288467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" name="think-cell Slide" r:id="rId41" imgW="572" imgH="588" progId="TCLayout.ActiveDocument.1">
                  <p:embed/>
                </p:oleObj>
              </mc:Choice>
              <mc:Fallback>
                <p:oleObj name="think-cell Slide" r:id="rId41" imgW="572" imgH="58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8963AA3D-EFA3-4938-9D41-C8DDC03F7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 hidden="1">
            <a:extLst>
              <a:ext uri="{FF2B5EF4-FFF2-40B4-BE49-F238E27FC236}">
                <a16:creationId xmlns:a16="http://schemas.microsoft.com/office/drawing/2014/main" id="{C4A855FC-965A-4859-83A9-629E80C693BF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2" name="4. Footnote" hidden="1">
            <a:extLst>
              <a:ext uri="{FF2B5EF4-FFF2-40B4-BE49-F238E27FC236}">
                <a16:creationId xmlns:a16="http://schemas.microsoft.com/office/drawing/2014/main" id="{06E07A66-B8BA-42E8-A0F6-6B0251CAA48E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11480" y="6274554"/>
            <a:ext cx="831189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BAD3E984-2EF2-43CD-BB0E-16A737B99040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416052" y="173736"/>
            <a:ext cx="8311896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3" name="Grid" hidden="1">
            <a:extLst>
              <a:ext uri="{FF2B5EF4-FFF2-40B4-BE49-F238E27FC236}">
                <a16:creationId xmlns:a16="http://schemas.microsoft.com/office/drawing/2014/main" id="{564EB9F6-AC04-42ED-9CB6-6D01335D9982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 bwMode="blackGray">
          <a:xfrm>
            <a:off x="1" y="0"/>
            <a:ext cx="9142857" cy="6858000"/>
            <a:chOff x="0" y="0"/>
            <a:chExt cx="12190476" cy="6858000"/>
          </a:xfrm>
        </p:grpSpPr>
        <p:sp>
          <p:nvSpPr>
            <p:cNvPr id="55" name="slide margin">
              <a:extLst>
                <a:ext uri="{FF2B5EF4-FFF2-40B4-BE49-F238E27FC236}">
                  <a16:creationId xmlns:a16="http://schemas.microsoft.com/office/drawing/2014/main" id="{F5DBB269-56D9-4200-9112-12E14BA26FC3}"/>
                </a:ext>
              </a:extLst>
            </p:cNvPr>
            <p:cNvSpPr/>
            <p:nvPr/>
          </p:nvSpPr>
          <p:spPr bwMode="black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7A4F8EE-DD16-44D6-8659-4BC61E1C4968}"/>
                </a:ext>
              </a:extLst>
            </p:cNvPr>
            <p:cNvCxnSpPr/>
            <p:nvPr/>
          </p:nvCxnSpPr>
          <p:spPr bwMode="black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A20FAAC0-CCE6-4BC5-A835-E805E4CFE84B}"/>
                </a:ext>
              </a:extLst>
            </p:cNvPr>
            <p:cNvCxnSpPr/>
            <p:nvPr/>
          </p:nvCxnSpPr>
          <p:spPr bwMode="black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CE62967-F8DD-442A-A2C7-5EC8AB9FE8CE}"/>
                </a:ext>
              </a:extLst>
            </p:cNvPr>
            <p:cNvCxnSpPr/>
            <p:nvPr/>
          </p:nvCxnSpPr>
          <p:spPr bwMode="black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D8E0C4-F713-47B9-9258-FCC3EF4AC2D3}"/>
                </a:ext>
              </a:extLst>
            </p:cNvPr>
            <p:cNvCxnSpPr/>
            <p:nvPr/>
          </p:nvCxnSpPr>
          <p:spPr bwMode="black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9209D019-80C7-44F7-B340-FDC6CF76FDFE}"/>
                </a:ext>
              </a:extLst>
            </p:cNvPr>
            <p:cNvCxnSpPr/>
            <p:nvPr/>
          </p:nvCxnSpPr>
          <p:spPr bwMode="black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B6FCE71-887F-4F0B-ACCD-6CFCD13E12A8}"/>
                </a:ext>
              </a:extLst>
            </p:cNvPr>
            <p:cNvCxnSpPr/>
            <p:nvPr/>
          </p:nvCxnSpPr>
          <p:spPr bwMode="black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25852E5-79E9-4D30-89F2-E8E3C7A8A8D3}"/>
                </a:ext>
              </a:extLst>
            </p:cNvPr>
            <p:cNvCxnSpPr/>
            <p:nvPr/>
          </p:nvCxnSpPr>
          <p:spPr bwMode="black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1894E67-6006-4C83-BBB3-824E5C6CAE33}"/>
                </a:ext>
              </a:extLst>
            </p:cNvPr>
            <p:cNvCxnSpPr/>
            <p:nvPr/>
          </p:nvCxnSpPr>
          <p:spPr bwMode="black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8B05A6-707C-49A0-B29E-A54224F6D77E}"/>
                </a:ext>
              </a:extLst>
            </p:cNvPr>
            <p:cNvCxnSpPr/>
            <p:nvPr/>
          </p:nvCxnSpPr>
          <p:spPr bwMode="black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6D036E9-E68E-45AC-88B1-3889BA9AC140}"/>
                </a:ext>
              </a:extLst>
            </p:cNvPr>
            <p:cNvCxnSpPr/>
            <p:nvPr/>
          </p:nvCxnSpPr>
          <p:spPr bwMode="black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228A5C01-418B-415F-ACE4-12657A25C674}"/>
                </a:ext>
              </a:extLst>
            </p:cNvPr>
            <p:cNvCxnSpPr/>
            <p:nvPr/>
          </p:nvCxnSpPr>
          <p:spPr bwMode="black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CD3EFBD-902E-4760-89FE-386EC5FAB5DD}"/>
                </a:ext>
              </a:extLst>
            </p:cNvPr>
            <p:cNvCxnSpPr/>
            <p:nvPr/>
          </p:nvCxnSpPr>
          <p:spPr bwMode="black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6E80E37-4393-4509-A7F8-81796082DBE6}"/>
                </a:ext>
              </a:extLst>
            </p:cNvPr>
            <p:cNvSpPr/>
            <p:nvPr/>
          </p:nvSpPr>
          <p:spPr bwMode="black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8B6547D-77F2-421A-BE02-C2FE626088A2}"/>
                </a:ext>
              </a:extLst>
            </p:cNvPr>
            <p:cNvSpPr/>
            <p:nvPr/>
          </p:nvSpPr>
          <p:spPr bwMode="black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3092C087-1CB5-40EB-AAE7-4F62179E5B3D}"/>
                </a:ext>
              </a:extLst>
            </p:cNvPr>
            <p:cNvSpPr/>
            <p:nvPr/>
          </p:nvSpPr>
          <p:spPr bwMode="black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70C581B-2D28-48E7-9BF1-F773AD6A082F}"/>
                </a:ext>
              </a:extLst>
            </p:cNvPr>
            <p:cNvSpPr/>
            <p:nvPr/>
          </p:nvSpPr>
          <p:spPr bwMode="black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05DE51E3-D897-4994-9418-E8C2DE782A3A}"/>
                </a:ext>
              </a:extLst>
            </p:cNvPr>
            <p:cNvSpPr/>
            <p:nvPr/>
          </p:nvSpPr>
          <p:spPr bwMode="black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D9B6F9F-FA16-4594-8B72-43FF5F17F7FC}"/>
                </a:ext>
              </a:extLst>
            </p:cNvPr>
            <p:cNvSpPr/>
            <p:nvPr/>
          </p:nvSpPr>
          <p:spPr bwMode="black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21EA58F-1F84-493C-ACF6-F9FACAF48256}"/>
                </a:ext>
              </a:extLst>
            </p:cNvPr>
            <p:cNvSpPr/>
            <p:nvPr/>
          </p:nvSpPr>
          <p:spPr bwMode="black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08E60CB-D491-446F-999C-C54AA89B3EC2}"/>
                </a:ext>
              </a:extLst>
            </p:cNvPr>
            <p:cNvSpPr/>
            <p:nvPr/>
          </p:nvSpPr>
          <p:spPr bwMode="black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A798CCB-595D-477E-BB68-277026AE1F58}"/>
                </a:ext>
              </a:extLst>
            </p:cNvPr>
            <p:cNvSpPr/>
            <p:nvPr/>
          </p:nvSpPr>
          <p:spPr bwMode="black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DE4A3B3-1B25-4F73-AFB0-BC5117472C58}"/>
                </a:ext>
              </a:extLst>
            </p:cNvPr>
            <p:cNvSpPr/>
            <p:nvPr/>
          </p:nvSpPr>
          <p:spPr bwMode="black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B244C56-8768-49BE-9C5F-39DC27091866}"/>
                </a:ext>
              </a:extLst>
            </p:cNvPr>
            <p:cNvSpPr/>
            <p:nvPr/>
          </p:nvSpPr>
          <p:spPr bwMode="black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FF016B4B-663C-4A99-BA16-526587A98E3A}"/>
                </a:ext>
              </a:extLst>
            </p:cNvPr>
            <p:cNvSpPr/>
            <p:nvPr/>
          </p:nvSpPr>
          <p:spPr bwMode="black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0EE0782-4BFF-4C76-83A4-65CB2A78CF86}"/>
                </a:ext>
              </a:extLst>
            </p:cNvPr>
            <p:cNvSpPr/>
            <p:nvPr/>
          </p:nvSpPr>
          <p:spPr bwMode="black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922C003-5270-4D9A-ADCB-FBD0BCF17B75}"/>
                </a:ext>
              </a:extLst>
            </p:cNvPr>
            <p:cNvSpPr/>
            <p:nvPr/>
          </p:nvSpPr>
          <p:spPr bwMode="black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D711215-3D48-4B08-99DB-BE3939FDAC79}"/>
                </a:ext>
              </a:extLst>
            </p:cNvPr>
            <p:cNvSpPr/>
            <p:nvPr userDrawn="1"/>
          </p:nvSpPr>
          <p:spPr bwMode="black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DDFDFFA-F184-43C9-870C-DCF3B877593B}"/>
                </a:ext>
              </a:extLst>
            </p:cNvPr>
            <p:cNvSpPr/>
            <p:nvPr userDrawn="1"/>
          </p:nvSpPr>
          <p:spPr bwMode="black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7AD2D58-EC85-4919-86F2-00E85F906876}"/>
                </a:ext>
              </a:extLst>
            </p:cNvPr>
            <p:cNvSpPr/>
            <p:nvPr userDrawn="1"/>
          </p:nvSpPr>
          <p:spPr bwMode="black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01CF21A7-4535-4C57-8143-169D224ADC39}"/>
                </a:ext>
              </a:extLst>
            </p:cNvPr>
            <p:cNvSpPr/>
            <p:nvPr userDrawn="1"/>
          </p:nvSpPr>
          <p:spPr bwMode="black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56F035C-8FDC-45CE-B5B8-F8B4F5ACBC79}"/>
                </a:ext>
              </a:extLst>
            </p:cNvPr>
            <p:cNvSpPr/>
            <p:nvPr userDrawn="1"/>
          </p:nvSpPr>
          <p:spPr bwMode="black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D9B234A6-826A-413C-B931-D919E52A0719}"/>
                </a:ext>
              </a:extLst>
            </p:cNvPr>
            <p:cNvSpPr/>
            <p:nvPr userDrawn="1"/>
          </p:nvSpPr>
          <p:spPr bwMode="black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048B2BB-6FFB-4D27-96C7-176E63508A2B}"/>
                </a:ext>
              </a:extLst>
            </p:cNvPr>
            <p:cNvSpPr/>
            <p:nvPr userDrawn="1"/>
          </p:nvSpPr>
          <p:spPr bwMode="black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0F26DA9-CE5E-4276-B142-51E0AFC8EFF3}"/>
                </a:ext>
              </a:extLst>
            </p:cNvPr>
            <p:cNvSpPr/>
            <p:nvPr userDrawn="1"/>
          </p:nvSpPr>
          <p:spPr bwMode="black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EC25358-B7B6-4891-97D2-1B131FD58253}"/>
                </a:ext>
              </a:extLst>
            </p:cNvPr>
            <p:cNvSpPr/>
            <p:nvPr userDrawn="1"/>
          </p:nvSpPr>
          <p:spPr bwMode="black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F1D4F54-A5B6-4B8F-BA1C-9796B50D71E8}"/>
                </a:ext>
              </a:extLst>
            </p:cNvPr>
            <p:cNvSpPr/>
            <p:nvPr userDrawn="1"/>
          </p:nvSpPr>
          <p:spPr bwMode="black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D3E1AF58-F8BD-4C35-B17B-FF474AC07207}"/>
                </a:ext>
              </a:extLst>
            </p:cNvPr>
            <p:cNvSpPr/>
            <p:nvPr userDrawn="1"/>
          </p:nvSpPr>
          <p:spPr bwMode="black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F433238B-4167-4B9F-AD00-573B9904B268}"/>
                </a:ext>
              </a:extLst>
            </p:cNvPr>
            <p:cNvCxnSpPr/>
            <p:nvPr userDrawn="1"/>
          </p:nvCxnSpPr>
          <p:spPr bwMode="black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E9255B43-A6C1-44E1-AD76-0108E14CF1CF}"/>
                </a:ext>
              </a:extLst>
            </p:cNvPr>
            <p:cNvCxnSpPr/>
            <p:nvPr userDrawn="1"/>
          </p:nvCxnSpPr>
          <p:spPr bwMode="black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86976117-4103-48D7-A1A4-7B1F6EB39AF8}"/>
                </a:ext>
              </a:extLst>
            </p:cNvPr>
            <p:cNvCxnSpPr/>
            <p:nvPr userDrawn="1"/>
          </p:nvCxnSpPr>
          <p:spPr bwMode="black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AD237E79-C954-4F5C-9467-568C2B01D61D}"/>
                </a:ext>
              </a:extLst>
            </p:cNvPr>
            <p:cNvCxnSpPr/>
            <p:nvPr userDrawn="1"/>
          </p:nvCxnSpPr>
          <p:spPr bwMode="black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2C3CA5D-4381-498F-A12A-94E2357D48D3}"/>
                </a:ext>
              </a:extLst>
            </p:cNvPr>
            <p:cNvCxnSpPr/>
            <p:nvPr userDrawn="1"/>
          </p:nvCxnSpPr>
          <p:spPr bwMode="black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CA4E24DD-F3D4-4376-8AB6-A07DA4314FF3}"/>
                </a:ext>
              </a:extLst>
            </p:cNvPr>
            <p:cNvCxnSpPr/>
            <p:nvPr userDrawn="1"/>
          </p:nvCxnSpPr>
          <p:spPr bwMode="black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D5DC4754-8578-491E-A0FF-64F47384863A}"/>
                </a:ext>
              </a:extLst>
            </p:cNvPr>
            <p:cNvCxnSpPr/>
            <p:nvPr userDrawn="1"/>
          </p:nvCxnSpPr>
          <p:spPr bwMode="black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984F9AF-FC24-4244-B2B7-556836286B42}"/>
                </a:ext>
              </a:extLst>
            </p:cNvPr>
            <p:cNvCxnSpPr/>
            <p:nvPr userDrawn="1"/>
          </p:nvCxnSpPr>
          <p:spPr bwMode="black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BE39F50-755A-4A28-9262-956D50B5BDF8}"/>
                </a:ext>
              </a:extLst>
            </p:cNvPr>
            <p:cNvCxnSpPr/>
            <p:nvPr userDrawn="1"/>
          </p:nvCxnSpPr>
          <p:spPr bwMode="black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CFFE806D-C6EC-4A6A-A604-0951250AC780}"/>
                </a:ext>
              </a:extLst>
            </p:cNvPr>
            <p:cNvCxnSpPr/>
            <p:nvPr userDrawn="1"/>
          </p:nvCxnSpPr>
          <p:spPr bwMode="black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584ED4C1-CE4B-4983-BA97-346408DC67CE}"/>
                </a:ext>
              </a:extLst>
            </p:cNvPr>
            <p:cNvCxnSpPr/>
            <p:nvPr userDrawn="1"/>
          </p:nvCxnSpPr>
          <p:spPr bwMode="black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C71EB62-716E-4C9B-AF43-BD800A252535}"/>
                </a:ext>
              </a:extLst>
            </p:cNvPr>
            <p:cNvCxnSpPr/>
            <p:nvPr userDrawn="1"/>
          </p:nvCxnSpPr>
          <p:spPr bwMode="black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9D29CB2-8929-4A25-98AF-2BEB838CFADE}"/>
                </a:ext>
              </a:extLst>
            </p:cNvPr>
            <p:cNvCxnSpPr/>
            <p:nvPr userDrawn="1"/>
          </p:nvCxnSpPr>
          <p:spPr bwMode="black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555DD7-8F54-4055-98D9-803ECA4B000E}"/>
                </a:ext>
              </a:extLst>
            </p:cNvPr>
            <p:cNvCxnSpPr/>
            <p:nvPr userDrawn="1"/>
          </p:nvCxnSpPr>
          <p:spPr bwMode="black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B2A8ED3D-1604-4356-8E79-C73DF5C07F87}"/>
                </a:ext>
              </a:extLst>
            </p:cNvPr>
            <p:cNvCxnSpPr/>
            <p:nvPr userDrawn="1"/>
          </p:nvCxnSpPr>
          <p:spPr bwMode="black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59B3DA24-D2F6-4B96-A966-7778F0462788}"/>
                </a:ext>
              </a:extLst>
            </p:cNvPr>
            <p:cNvCxnSpPr/>
            <p:nvPr userDrawn="1"/>
          </p:nvCxnSpPr>
          <p:spPr bwMode="black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5B2BC198-E061-43B5-8B72-9AECD4EF674C}"/>
                </a:ext>
              </a:extLst>
            </p:cNvPr>
            <p:cNvCxnSpPr/>
            <p:nvPr userDrawn="1"/>
          </p:nvCxnSpPr>
          <p:spPr bwMode="black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CBD1AA7-CC60-49B9-AAED-95002306B6DB}"/>
                </a:ext>
              </a:extLst>
            </p:cNvPr>
            <p:cNvCxnSpPr/>
            <p:nvPr userDrawn="1"/>
          </p:nvCxnSpPr>
          <p:spPr bwMode="black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6CFC690-A932-420E-8641-E0D4F1D14F71}"/>
                </a:ext>
              </a:extLst>
            </p:cNvPr>
            <p:cNvCxnSpPr/>
            <p:nvPr userDrawn="1"/>
          </p:nvCxnSpPr>
          <p:spPr bwMode="black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981262C0-EBF5-4D95-9E2E-78B7BE1D5F8F}"/>
                </a:ext>
              </a:extLst>
            </p:cNvPr>
            <p:cNvCxnSpPr/>
            <p:nvPr userDrawn="1"/>
          </p:nvCxnSpPr>
          <p:spPr bwMode="black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72412145-9F02-45F4-8A1F-4109B09DA77F}"/>
                </a:ext>
              </a:extLst>
            </p:cNvPr>
            <p:cNvCxnSpPr/>
            <p:nvPr userDrawn="1"/>
          </p:nvCxnSpPr>
          <p:spPr bwMode="black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4EFB458C-651C-47B0-830C-DFC18029EB15}"/>
                </a:ext>
              </a:extLst>
            </p:cNvPr>
            <p:cNvCxnSpPr/>
            <p:nvPr userDrawn="1"/>
          </p:nvCxnSpPr>
          <p:spPr bwMode="black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275A12CE-1B9C-467B-A41F-63B02D949AF6}"/>
                </a:ext>
              </a:extLst>
            </p:cNvPr>
            <p:cNvCxnSpPr/>
            <p:nvPr userDrawn="1"/>
          </p:nvCxnSpPr>
          <p:spPr bwMode="black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E166A7E-724C-41B9-B1E3-C18068EECF0D}"/>
                </a:ext>
              </a:extLst>
            </p:cNvPr>
            <p:cNvCxnSpPr/>
            <p:nvPr userDrawn="1"/>
          </p:nvCxnSpPr>
          <p:spPr bwMode="black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A628A8A-2AC5-47F3-84EC-7B44237EC8C4}"/>
                </a:ext>
              </a:extLst>
            </p:cNvPr>
            <p:cNvCxnSpPr/>
            <p:nvPr userDrawn="1"/>
          </p:nvCxnSpPr>
          <p:spPr bwMode="black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B89EEAE6-AB58-4DA0-97B7-5ED0B4FB66F7}"/>
                </a:ext>
              </a:extLst>
            </p:cNvPr>
            <p:cNvCxnSpPr/>
            <p:nvPr userDrawn="1"/>
          </p:nvCxnSpPr>
          <p:spPr bwMode="black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9973091C-4F57-45F5-9278-A5495574B244}"/>
                </a:ext>
              </a:extLst>
            </p:cNvPr>
            <p:cNvCxnSpPr/>
            <p:nvPr userDrawn="1"/>
          </p:nvCxnSpPr>
          <p:spPr bwMode="black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013782DF-D3CE-43BC-B089-7657B3CC9E4F}"/>
                </a:ext>
              </a:extLst>
            </p:cNvPr>
            <p:cNvCxnSpPr/>
            <p:nvPr userDrawn="1"/>
          </p:nvCxnSpPr>
          <p:spPr bwMode="black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40E03DB-D3B5-4ED2-94F1-18B05EF36E60}"/>
                </a:ext>
              </a:extLst>
            </p:cNvPr>
            <p:cNvCxnSpPr/>
            <p:nvPr userDrawn="1"/>
          </p:nvCxnSpPr>
          <p:spPr bwMode="black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283FFB0A-CBFF-4BBE-BC87-0A2AF4284576}"/>
                </a:ext>
              </a:extLst>
            </p:cNvPr>
            <p:cNvCxnSpPr/>
            <p:nvPr userDrawn="1"/>
          </p:nvCxnSpPr>
          <p:spPr bwMode="black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D5A634C-FA6D-4F49-AAD5-BBCE990D4748}"/>
                </a:ext>
              </a:extLst>
            </p:cNvPr>
            <p:cNvCxnSpPr/>
            <p:nvPr userDrawn="1"/>
          </p:nvCxnSpPr>
          <p:spPr bwMode="black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205ED71-0851-4E0C-A163-BC3D3039E671}"/>
                </a:ext>
              </a:extLst>
            </p:cNvPr>
            <p:cNvCxnSpPr/>
            <p:nvPr userDrawn="1"/>
          </p:nvCxnSpPr>
          <p:spPr bwMode="black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715526AD-CEE9-474C-A9A5-D49A5346A930}"/>
                </a:ext>
              </a:extLst>
            </p:cNvPr>
            <p:cNvCxnSpPr/>
            <p:nvPr userDrawn="1"/>
          </p:nvCxnSpPr>
          <p:spPr bwMode="black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7BD9B20-C7BC-413A-A578-C3FF8BEBBDC0}"/>
                </a:ext>
              </a:extLst>
            </p:cNvPr>
            <p:cNvCxnSpPr/>
            <p:nvPr userDrawn="1"/>
          </p:nvCxnSpPr>
          <p:spPr bwMode="black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A981CE9B-6327-4D32-B970-04D7EC41EE89}"/>
                </a:ext>
              </a:extLst>
            </p:cNvPr>
            <p:cNvCxnSpPr/>
            <p:nvPr userDrawn="1"/>
          </p:nvCxnSpPr>
          <p:spPr bwMode="black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E8F3FFC1-0364-4801-813A-54371A2C43DA}"/>
                </a:ext>
              </a:extLst>
            </p:cNvPr>
            <p:cNvCxnSpPr/>
            <p:nvPr userDrawn="1"/>
          </p:nvCxnSpPr>
          <p:spPr bwMode="black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5606A9C3-FEED-4F52-B442-5009E3F7B54C}"/>
                </a:ext>
              </a:extLst>
            </p:cNvPr>
            <p:cNvCxnSpPr/>
            <p:nvPr userDrawn="1"/>
          </p:nvCxnSpPr>
          <p:spPr bwMode="black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9DAE2C86-BAE6-47A1-94B1-327465587DE7}"/>
                </a:ext>
              </a:extLst>
            </p:cNvPr>
            <p:cNvCxnSpPr/>
            <p:nvPr userDrawn="1"/>
          </p:nvCxnSpPr>
          <p:spPr bwMode="black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9686103-ADA6-4E1A-817A-E71466AE209B}"/>
                </a:ext>
              </a:extLst>
            </p:cNvPr>
            <p:cNvCxnSpPr/>
            <p:nvPr userDrawn="1"/>
          </p:nvCxnSpPr>
          <p:spPr bwMode="black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BD273DE-C35C-4DA9-96B1-DDB7F800252C}"/>
                </a:ext>
              </a:extLst>
            </p:cNvPr>
            <p:cNvCxnSpPr/>
            <p:nvPr userDrawn="1"/>
          </p:nvCxnSpPr>
          <p:spPr bwMode="black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9A7DF1D-083E-42BB-91EA-4E30FEA625A2}"/>
                </a:ext>
              </a:extLst>
            </p:cNvPr>
            <p:cNvCxnSpPr/>
            <p:nvPr userDrawn="1"/>
          </p:nvCxnSpPr>
          <p:spPr bwMode="black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2D0D1604-79C2-46BE-9905-D864D0ECFE20}"/>
                </a:ext>
              </a:extLst>
            </p:cNvPr>
            <p:cNvCxnSpPr/>
            <p:nvPr userDrawn="1"/>
          </p:nvCxnSpPr>
          <p:spPr bwMode="black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B7B9FA60-E80E-4FE7-BB67-028805A248EE}"/>
                </a:ext>
              </a:extLst>
            </p:cNvPr>
            <p:cNvCxnSpPr/>
            <p:nvPr userDrawn="1"/>
          </p:nvCxnSpPr>
          <p:spPr bwMode="black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102F5688-0147-4CC6-8FB3-67034979720D}"/>
                </a:ext>
              </a:extLst>
            </p:cNvPr>
            <p:cNvCxnSpPr/>
            <p:nvPr userDrawn="1"/>
          </p:nvCxnSpPr>
          <p:spPr bwMode="black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main body box">
              <a:extLst>
                <a:ext uri="{FF2B5EF4-FFF2-40B4-BE49-F238E27FC236}">
                  <a16:creationId xmlns:a16="http://schemas.microsoft.com/office/drawing/2014/main" id="{3AB62359-B582-4196-8266-DC8ADBA988F4}"/>
                </a:ext>
              </a:extLst>
            </p:cNvPr>
            <p:cNvSpPr/>
            <p:nvPr userDrawn="1"/>
          </p:nvSpPr>
          <p:spPr bwMode="black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3D738849-8295-4057-B044-0B0E80C1C3DA}"/>
                </a:ext>
              </a:extLst>
            </p:cNvPr>
            <p:cNvCxnSpPr/>
            <p:nvPr userDrawn="1"/>
          </p:nvCxnSpPr>
          <p:spPr bwMode="black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81361245-226A-4BA1-8B7C-025011F07E2A}"/>
                </a:ext>
              </a:extLst>
            </p:cNvPr>
            <p:cNvCxnSpPr/>
            <p:nvPr userDrawn="1"/>
          </p:nvCxnSpPr>
          <p:spPr bwMode="black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3" name="Sticker" hidden="1">
            <a:extLst>
              <a:ext uri="{FF2B5EF4-FFF2-40B4-BE49-F238E27FC236}">
                <a16:creationId xmlns:a16="http://schemas.microsoft.com/office/drawing/2014/main" id="{F4B31D41-9E38-4C47-B14A-953F41CF2048}"/>
              </a:ext>
            </a:extLst>
          </p:cNvPr>
          <p:cNvSpPr txBox="1"/>
          <p:nvPr userDrawn="1"/>
        </p:nvSpPr>
        <p:spPr>
          <a:xfrm>
            <a:off x="416052" y="834828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55" name="ACET" hidden="1">
            <a:extLst>
              <a:ext uri="{FF2B5EF4-FFF2-40B4-BE49-F238E27FC236}">
                <a16:creationId xmlns:a16="http://schemas.microsoft.com/office/drawing/2014/main" id="{6FC9F96D-D74F-4064-BE66-104F69CCE92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415925" y="2133599"/>
            <a:ext cx="3049253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400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2155825"/>
            <a:ext cx="2168863" cy="143372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2" name="LegendBoxes" hidden="1">
            <a:extLst>
              <a:ext uri="{FF2B5EF4-FFF2-40B4-BE49-F238E27FC236}">
                <a16:creationId xmlns:a16="http://schemas.microsoft.com/office/drawing/2014/main" id="{963CCBC6-05DA-41C5-8A26-02B4B8294556}"/>
              </a:ext>
            </a:extLst>
          </p:cNvPr>
          <p:cNvGrpSpPr/>
          <p:nvPr userDrawn="1"/>
        </p:nvGrpSpPr>
        <p:grpSpPr>
          <a:xfrm>
            <a:off x="7892047" y="4396889"/>
            <a:ext cx="835901" cy="1686504"/>
            <a:chOff x="7756825" y="4379430"/>
            <a:chExt cx="835901" cy="1686504"/>
          </a:xfrm>
        </p:grpSpPr>
        <p:sp>
          <p:nvSpPr>
            <p:cNvPr id="153" name="RectangleLegend1">
              <a:extLst>
                <a:ext uri="{FF2B5EF4-FFF2-40B4-BE49-F238E27FC236}">
                  <a16:creationId xmlns:a16="http://schemas.microsoft.com/office/drawing/2014/main" id="{658AC4E5-B9F1-4DD2-A80F-DAC539F6EDF1}"/>
                </a:ext>
              </a:extLst>
            </p:cNvPr>
            <p:cNvSpPr/>
            <p:nvPr/>
          </p:nvSpPr>
          <p:spPr>
            <a:xfrm>
              <a:off x="7756825" y="4385399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54" name="RectangleLegend2">
              <a:extLst>
                <a:ext uri="{FF2B5EF4-FFF2-40B4-BE49-F238E27FC236}">
                  <a16:creationId xmlns:a16="http://schemas.microsoft.com/office/drawing/2014/main" id="{B2384542-8C23-4E14-80D2-CA9F267323F0}"/>
                </a:ext>
              </a:extLst>
            </p:cNvPr>
            <p:cNvSpPr/>
            <p:nvPr/>
          </p:nvSpPr>
          <p:spPr>
            <a:xfrm>
              <a:off x="7756825" y="4764897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tangleLegend3">
              <a:extLst>
                <a:ext uri="{FF2B5EF4-FFF2-40B4-BE49-F238E27FC236}">
                  <a16:creationId xmlns:a16="http://schemas.microsoft.com/office/drawing/2014/main" id="{060EF611-D1B1-4A78-8D88-DC9E2B83640A}"/>
                </a:ext>
              </a:extLst>
            </p:cNvPr>
            <p:cNvSpPr/>
            <p:nvPr/>
          </p:nvSpPr>
          <p:spPr>
            <a:xfrm>
              <a:off x="7756825" y="5138493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5" name="RectangleLegend4">
              <a:extLst>
                <a:ext uri="{FF2B5EF4-FFF2-40B4-BE49-F238E27FC236}">
                  <a16:creationId xmlns:a16="http://schemas.microsoft.com/office/drawing/2014/main" id="{E1613226-3F7F-4C55-A6C0-DD8251B844E6}"/>
                </a:ext>
              </a:extLst>
            </p:cNvPr>
            <p:cNvSpPr/>
            <p:nvPr/>
          </p:nvSpPr>
          <p:spPr>
            <a:xfrm>
              <a:off x="7756825" y="5512089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tangleLegend5">
              <a:extLst>
                <a:ext uri="{FF2B5EF4-FFF2-40B4-BE49-F238E27FC236}">
                  <a16:creationId xmlns:a16="http://schemas.microsoft.com/office/drawing/2014/main" id="{5BE928B1-5A9D-43CB-BC80-2D1F93CC2F3C}"/>
                </a:ext>
              </a:extLst>
            </p:cNvPr>
            <p:cNvSpPr/>
            <p:nvPr/>
          </p:nvSpPr>
          <p:spPr>
            <a:xfrm>
              <a:off x="7756825" y="5885685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7" name="Legend1">
              <a:extLst>
                <a:ext uri="{FF2B5EF4-FFF2-40B4-BE49-F238E27FC236}">
                  <a16:creationId xmlns:a16="http://schemas.microsoft.com/office/drawing/2014/main" id="{588189A8-DB4B-43BF-B593-04C5DB541C53}"/>
                </a:ext>
              </a:extLst>
            </p:cNvPr>
            <p:cNvSpPr txBox="1"/>
            <p:nvPr/>
          </p:nvSpPr>
          <p:spPr>
            <a:xfrm>
              <a:off x="8082971" y="4379430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8" name="Legend2">
              <a:extLst>
                <a:ext uri="{FF2B5EF4-FFF2-40B4-BE49-F238E27FC236}">
                  <a16:creationId xmlns:a16="http://schemas.microsoft.com/office/drawing/2014/main" id="{BFD93A1F-3913-44CB-80B7-EFCD2B4BF5BC}"/>
                </a:ext>
              </a:extLst>
            </p:cNvPr>
            <p:cNvSpPr txBox="1"/>
            <p:nvPr/>
          </p:nvSpPr>
          <p:spPr>
            <a:xfrm>
              <a:off x="8082971" y="4758928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9" name="Legend3">
              <a:extLst>
                <a:ext uri="{FF2B5EF4-FFF2-40B4-BE49-F238E27FC236}">
                  <a16:creationId xmlns:a16="http://schemas.microsoft.com/office/drawing/2014/main" id="{F7B1D1E0-C2A5-481C-8640-41B469498D8D}"/>
                </a:ext>
              </a:extLst>
            </p:cNvPr>
            <p:cNvSpPr txBox="1"/>
            <p:nvPr/>
          </p:nvSpPr>
          <p:spPr>
            <a:xfrm>
              <a:off x="8082971" y="5138426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0" name="Legend4">
              <a:extLst>
                <a:ext uri="{FF2B5EF4-FFF2-40B4-BE49-F238E27FC236}">
                  <a16:creationId xmlns:a16="http://schemas.microsoft.com/office/drawing/2014/main" id="{C8DA0D60-61E4-4C36-A081-C71B9380B540}"/>
                </a:ext>
              </a:extLst>
            </p:cNvPr>
            <p:cNvSpPr txBox="1"/>
            <p:nvPr/>
          </p:nvSpPr>
          <p:spPr>
            <a:xfrm>
              <a:off x="8082971" y="5509847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1" name="Legend5">
              <a:extLst>
                <a:ext uri="{FF2B5EF4-FFF2-40B4-BE49-F238E27FC236}">
                  <a16:creationId xmlns:a16="http://schemas.microsoft.com/office/drawing/2014/main" id="{0642CA01-EC45-4B1C-8CC1-746C78F308A5}"/>
                </a:ext>
              </a:extLst>
            </p:cNvPr>
            <p:cNvSpPr txBox="1"/>
            <p:nvPr/>
          </p:nvSpPr>
          <p:spPr>
            <a:xfrm>
              <a:off x="8082970" y="5881268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</p:grpSp>
      <p:grpSp>
        <p:nvGrpSpPr>
          <p:cNvPr id="172" name="LegendLines" hidden="1">
            <a:extLst>
              <a:ext uri="{FF2B5EF4-FFF2-40B4-BE49-F238E27FC236}">
                <a16:creationId xmlns:a16="http://schemas.microsoft.com/office/drawing/2014/main" id="{F23A354F-6D61-4076-98CC-072D54F2B9B5}"/>
              </a:ext>
            </a:extLst>
          </p:cNvPr>
          <p:cNvGrpSpPr/>
          <p:nvPr userDrawn="1"/>
        </p:nvGrpSpPr>
        <p:grpSpPr>
          <a:xfrm>
            <a:off x="7601970" y="3237562"/>
            <a:ext cx="1125978" cy="927508"/>
            <a:chOff x="7495285" y="2250552"/>
            <a:chExt cx="1125978" cy="927508"/>
          </a:xfrm>
        </p:grpSpPr>
        <p:sp>
          <p:nvSpPr>
            <p:cNvPr id="173" name="Legend1">
              <a:extLst>
                <a:ext uri="{FF2B5EF4-FFF2-40B4-BE49-F238E27FC236}">
                  <a16:creationId xmlns:a16="http://schemas.microsoft.com/office/drawing/2014/main" id="{10E606C6-97CA-4FF0-A153-84CA4E8F414F}"/>
                </a:ext>
              </a:extLst>
            </p:cNvPr>
            <p:cNvSpPr txBox="1"/>
            <p:nvPr/>
          </p:nvSpPr>
          <p:spPr>
            <a:xfrm>
              <a:off x="8111508" y="2250552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4" name="Legend2">
              <a:extLst>
                <a:ext uri="{FF2B5EF4-FFF2-40B4-BE49-F238E27FC236}">
                  <a16:creationId xmlns:a16="http://schemas.microsoft.com/office/drawing/2014/main" id="{5F43CABA-AFC6-491E-A7D7-B466654F525D}"/>
                </a:ext>
              </a:extLst>
            </p:cNvPr>
            <p:cNvSpPr txBox="1"/>
            <p:nvPr/>
          </p:nvSpPr>
          <p:spPr>
            <a:xfrm>
              <a:off x="8111508" y="262197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5" name="Legend3">
              <a:extLst>
                <a:ext uri="{FF2B5EF4-FFF2-40B4-BE49-F238E27FC236}">
                  <a16:creationId xmlns:a16="http://schemas.microsoft.com/office/drawing/2014/main" id="{DA7660EB-4D51-4982-8372-6E58C50CDE5E}"/>
                </a:ext>
              </a:extLst>
            </p:cNvPr>
            <p:cNvSpPr txBox="1"/>
            <p:nvPr/>
          </p:nvSpPr>
          <p:spPr>
            <a:xfrm>
              <a:off x="8111508" y="2993394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6" name="LineLegend3">
              <a:extLst>
                <a:ext uri="{FF2B5EF4-FFF2-40B4-BE49-F238E27FC236}">
                  <a16:creationId xmlns:a16="http://schemas.microsoft.com/office/drawing/2014/main" id="{966C354A-0204-46EB-8E36-0146C3FD31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3084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7" name="LineLegend2">
              <a:extLst>
                <a:ext uri="{FF2B5EF4-FFF2-40B4-BE49-F238E27FC236}">
                  <a16:creationId xmlns:a16="http://schemas.microsoft.com/office/drawing/2014/main" id="{B87C293D-A7CD-4508-B0B1-2017113A58A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710816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8" name="LineLegend1">
              <a:extLst>
                <a:ext uri="{FF2B5EF4-FFF2-40B4-BE49-F238E27FC236}">
                  <a16:creationId xmlns:a16="http://schemas.microsoft.com/office/drawing/2014/main" id="{4456FE58-0255-4DBB-92A8-6CC5F84B71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34288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</p:grpSp>
      <p:grpSp>
        <p:nvGrpSpPr>
          <p:cNvPr id="179" name="LegendMoons" hidden="1">
            <a:extLst>
              <a:ext uri="{FF2B5EF4-FFF2-40B4-BE49-F238E27FC236}">
                <a16:creationId xmlns:a16="http://schemas.microsoft.com/office/drawing/2014/main" id="{70A0319B-8EBB-4F65-9A96-1B1BB35625B1}"/>
              </a:ext>
            </a:extLst>
          </p:cNvPr>
          <p:cNvGrpSpPr/>
          <p:nvPr userDrawn="1"/>
        </p:nvGrpSpPr>
        <p:grpSpPr>
          <a:xfrm>
            <a:off x="7865561" y="1289273"/>
            <a:ext cx="862387" cy="1731859"/>
            <a:chOff x="7723680" y="1702457"/>
            <a:chExt cx="862387" cy="1731859"/>
          </a:xfrm>
        </p:grpSpPr>
        <p:sp>
          <p:nvSpPr>
            <p:cNvPr id="201" name="Legend1">
              <a:extLst>
                <a:ext uri="{FF2B5EF4-FFF2-40B4-BE49-F238E27FC236}">
                  <a16:creationId xmlns:a16="http://schemas.microsoft.com/office/drawing/2014/main" id="{49BB8121-D802-4602-ABD0-B61681B018F3}"/>
                </a:ext>
              </a:extLst>
            </p:cNvPr>
            <p:cNvSpPr txBox="1"/>
            <p:nvPr/>
          </p:nvSpPr>
          <p:spPr>
            <a:xfrm>
              <a:off x="8076312" y="1725205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2" name="Legend2">
              <a:extLst>
                <a:ext uri="{FF2B5EF4-FFF2-40B4-BE49-F238E27FC236}">
                  <a16:creationId xmlns:a16="http://schemas.microsoft.com/office/drawing/2014/main" id="{5EBAE2BA-95BE-43BE-ADD2-84B42D0356EE}"/>
                </a:ext>
              </a:extLst>
            </p:cNvPr>
            <p:cNvSpPr txBox="1"/>
            <p:nvPr/>
          </p:nvSpPr>
          <p:spPr>
            <a:xfrm>
              <a:off x="8076312" y="2100664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3" name="Legend3">
              <a:extLst>
                <a:ext uri="{FF2B5EF4-FFF2-40B4-BE49-F238E27FC236}">
                  <a16:creationId xmlns:a16="http://schemas.microsoft.com/office/drawing/2014/main" id="{F96B8EA8-EAE8-4395-BA9F-6F1303EA348F}"/>
                </a:ext>
              </a:extLst>
            </p:cNvPr>
            <p:cNvSpPr txBox="1"/>
            <p:nvPr/>
          </p:nvSpPr>
          <p:spPr>
            <a:xfrm>
              <a:off x="8076312" y="247612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4" name="Legend4">
              <a:extLst>
                <a:ext uri="{FF2B5EF4-FFF2-40B4-BE49-F238E27FC236}">
                  <a16:creationId xmlns:a16="http://schemas.microsoft.com/office/drawing/2014/main" id="{BE4110F2-0F5F-4468-93FA-59E84FEB9E4A}"/>
                </a:ext>
              </a:extLst>
            </p:cNvPr>
            <p:cNvSpPr txBox="1"/>
            <p:nvPr/>
          </p:nvSpPr>
          <p:spPr>
            <a:xfrm>
              <a:off x="8076312" y="2851582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5" name="Legend5">
              <a:extLst>
                <a:ext uri="{FF2B5EF4-FFF2-40B4-BE49-F238E27FC236}">
                  <a16:creationId xmlns:a16="http://schemas.microsoft.com/office/drawing/2014/main" id="{E16B28D1-13B2-4F91-8123-CC4749412D3B}"/>
                </a:ext>
              </a:extLst>
            </p:cNvPr>
            <p:cNvSpPr txBox="1"/>
            <p:nvPr/>
          </p:nvSpPr>
          <p:spPr>
            <a:xfrm>
              <a:off x="8076312" y="322704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grpSp>
          <p:nvGrpSpPr>
            <p:cNvPr id="206" name="MoonLegend1">
              <a:extLst>
                <a:ext uri="{FF2B5EF4-FFF2-40B4-BE49-F238E27FC236}">
                  <a16:creationId xmlns:a16="http://schemas.microsoft.com/office/drawing/2014/main" id="{A16FD1F9-C160-4C4C-BAF6-716DDB869224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5282EEB0-B664-439C-B943-F7BB43CCAC0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68D40D9B-9DF0-4077-8151-E93B0977AD04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7" name="MoonLegend2">
              <a:extLst>
                <a:ext uri="{FF2B5EF4-FFF2-40B4-BE49-F238E27FC236}">
                  <a16:creationId xmlns:a16="http://schemas.microsoft.com/office/drawing/2014/main" id="{F9F241E8-6251-451F-9BE9-2C8D83F44D6B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578B0A0D-F30C-40C1-A9C4-EB63E6138F4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87395151-2586-43D8-B836-6324CB407891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8" name="MoonLegend3">
              <a:extLst>
                <a:ext uri="{FF2B5EF4-FFF2-40B4-BE49-F238E27FC236}">
                  <a16:creationId xmlns:a16="http://schemas.microsoft.com/office/drawing/2014/main" id="{B66D3648-DE5A-4E5C-8578-141D178A4ADB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D2DC89B-E4DB-4EBC-B12A-607EB3C23DE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50301F1B-4914-4337-B892-733925FD1C5A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9" name="MoonLegend4">
              <a:extLst>
                <a:ext uri="{FF2B5EF4-FFF2-40B4-BE49-F238E27FC236}">
                  <a16:creationId xmlns:a16="http://schemas.microsoft.com/office/drawing/2014/main" id="{69C2ABAA-7291-4A19-A40B-3990AB445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B9D4D141-7E0B-42D0-994A-D8212F69EE2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>
                <a:extLst>
                  <a:ext uri="{FF2B5EF4-FFF2-40B4-BE49-F238E27FC236}">
                    <a16:creationId xmlns:a16="http://schemas.microsoft.com/office/drawing/2014/main" id="{397EC893-9249-44CD-982F-F7F0B99DFCA8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10" name="MoonLegend5">
              <a:extLst>
                <a:ext uri="{FF2B5EF4-FFF2-40B4-BE49-F238E27FC236}">
                  <a16:creationId xmlns:a16="http://schemas.microsoft.com/office/drawing/2014/main" id="{CDCE6D47-F48F-4497-BD5A-E92F724CEE3D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E8E291C3-4BCA-406E-8B9A-6A354B83EF5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>
                <a:extLst>
                  <a:ext uri="{FF2B5EF4-FFF2-40B4-BE49-F238E27FC236}">
                    <a16:creationId xmlns:a16="http://schemas.microsoft.com/office/drawing/2014/main" id="{4C9C4DC9-D1E5-45F3-943E-09B75E72EE8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</p:grpSp>
      <p:sp>
        <p:nvSpPr>
          <p:cNvPr id="141" name="Documenttype">
            <a:extLst>
              <a:ext uri="{FF2B5EF4-FFF2-40B4-BE49-F238E27FC236}">
                <a16:creationId xmlns:a16="http://schemas.microsoft.com/office/drawing/2014/main" id="{29A17418-B99F-4330-B927-CCF962E4661F}"/>
              </a:ext>
            </a:extLst>
          </p:cNvPr>
          <p:cNvSpPr txBox="1">
            <a:spLocks/>
          </p:cNvSpPr>
          <p:nvPr userDrawn="1">
            <p:custDataLst>
              <p:tags r:id="rId25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58FB3693-AC27-4699-841D-4547D247D81A}"/>
              </a:ext>
            </a:extLst>
          </p:cNvPr>
          <p:cNvSpPr txBox="1"/>
          <p:nvPr userDrawn="1"/>
        </p:nvSpPr>
        <p:spPr>
          <a:xfrm>
            <a:off x="7271296" y="6570762"/>
            <a:ext cx="65" cy="15388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885" r:id="rId2"/>
    <p:sldLayoutId id="2147483654" r:id="rId3"/>
    <p:sldLayoutId id="2147483807" r:id="rId4"/>
    <p:sldLayoutId id="2147483800" r:id="rId5"/>
    <p:sldLayoutId id="2147483659" r:id="rId6"/>
    <p:sldLayoutId id="2147483804" r:id="rId7"/>
    <p:sldLayoutId id="2147483860" r:id="rId8"/>
    <p:sldLayoutId id="2147483856" r:id="rId9"/>
    <p:sldLayoutId id="2147483805" r:id="rId10"/>
    <p:sldLayoutId id="2147483806" r:id="rId11"/>
    <p:sldLayoutId id="2147483882" r:id="rId12"/>
    <p:sldLayoutId id="2147483879" r:id="rId13"/>
    <p:sldLayoutId id="2147483859" r:id="rId14"/>
    <p:sldLayoutId id="2147483718" r:id="rId15"/>
    <p:sldLayoutId id="2147484005" r:id="rId16"/>
  </p:sldLayoutIdLst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lang="en-US" sz="22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 userDrawn="1">
          <p15:clr>
            <a:srgbClr val="5ACBF0"/>
          </p15:clr>
        </p15:guide>
        <p15:guide id="3" orient="horz" pos="3912" userDrawn="1">
          <p15:clr>
            <a:srgbClr val="5ACBF0"/>
          </p15:clr>
        </p15:guide>
        <p15:guide id="4" orient="horz" pos="1075" userDrawn="1">
          <p15:clr>
            <a:srgbClr val="F26B43"/>
          </p15:clr>
        </p15:guide>
        <p15:guide id="5" pos="5497" userDrawn="1">
          <p15:clr>
            <a:srgbClr val="F26B43"/>
          </p15:clr>
        </p15:guide>
        <p15:guide id="6" pos="259" userDrawn="1">
          <p15:clr>
            <a:srgbClr val="F26B43"/>
          </p15:clr>
        </p15:guide>
        <p15:guide id="8" orient="horz" pos="406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ADF5077A-B40D-49E9-B6CD-930C858782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85203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7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ADF5077A-B40D-49E9-B6CD-930C85878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29A6C57F-0DCF-49B4-A828-5C29D59227E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8B91ABE-1EA4-4D33-B527-A7280E439CFF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1480" y="6274554"/>
            <a:ext cx="831189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BAD3E984-2EF2-43CD-BB0E-16A737B99040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416052" y="173736"/>
            <a:ext cx="8311896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8" name="Grid" hidden="1">
            <a:extLst>
              <a:ext uri="{FF2B5EF4-FFF2-40B4-BE49-F238E27FC236}">
                <a16:creationId xmlns:a16="http://schemas.microsoft.com/office/drawing/2014/main" id="{9649E640-8714-440D-BDAF-B74AB2A6EB66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 bwMode="blackGray">
          <a:xfrm>
            <a:off x="1" y="0"/>
            <a:ext cx="9142857" cy="6858000"/>
            <a:chOff x="0" y="0"/>
            <a:chExt cx="12190476" cy="6858000"/>
          </a:xfrm>
        </p:grpSpPr>
        <p:sp>
          <p:nvSpPr>
            <p:cNvPr id="59" name="slide margin">
              <a:extLst>
                <a:ext uri="{FF2B5EF4-FFF2-40B4-BE49-F238E27FC236}">
                  <a16:creationId xmlns:a16="http://schemas.microsoft.com/office/drawing/2014/main" id="{66BB9FB9-B527-4EA5-83E9-7FDE924D3C75}"/>
                </a:ext>
              </a:extLst>
            </p:cNvPr>
            <p:cNvSpPr/>
            <p:nvPr/>
          </p:nvSpPr>
          <p:spPr bwMode="black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8EFC78F4-BB47-4C26-840A-A2D68F34CF9A}"/>
                </a:ext>
              </a:extLst>
            </p:cNvPr>
            <p:cNvCxnSpPr/>
            <p:nvPr/>
          </p:nvCxnSpPr>
          <p:spPr bwMode="black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B2F5785C-C55D-4A5B-94B1-A7504E6345A3}"/>
                </a:ext>
              </a:extLst>
            </p:cNvPr>
            <p:cNvCxnSpPr/>
            <p:nvPr/>
          </p:nvCxnSpPr>
          <p:spPr bwMode="black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9B889190-9120-4340-9EE8-A654DCFF8459}"/>
                </a:ext>
              </a:extLst>
            </p:cNvPr>
            <p:cNvCxnSpPr/>
            <p:nvPr/>
          </p:nvCxnSpPr>
          <p:spPr bwMode="black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F5BB4D90-C72C-4E0A-92CA-007742073F53}"/>
                </a:ext>
              </a:extLst>
            </p:cNvPr>
            <p:cNvCxnSpPr/>
            <p:nvPr/>
          </p:nvCxnSpPr>
          <p:spPr bwMode="black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E96C0A8-EFE0-4D82-96BE-7FFBB1703A70}"/>
                </a:ext>
              </a:extLst>
            </p:cNvPr>
            <p:cNvCxnSpPr/>
            <p:nvPr/>
          </p:nvCxnSpPr>
          <p:spPr bwMode="black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B925DEC6-918B-49B3-A9A8-BE331C03D2A9}"/>
                </a:ext>
              </a:extLst>
            </p:cNvPr>
            <p:cNvCxnSpPr/>
            <p:nvPr/>
          </p:nvCxnSpPr>
          <p:spPr bwMode="black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1D9F0483-2B10-44EE-9292-7184C12AA561}"/>
                </a:ext>
              </a:extLst>
            </p:cNvPr>
            <p:cNvCxnSpPr/>
            <p:nvPr/>
          </p:nvCxnSpPr>
          <p:spPr bwMode="black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4974E10B-01C5-4F88-85DA-20BB11CE7185}"/>
                </a:ext>
              </a:extLst>
            </p:cNvPr>
            <p:cNvCxnSpPr/>
            <p:nvPr/>
          </p:nvCxnSpPr>
          <p:spPr bwMode="black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BFE0C66F-6B8B-4D99-A75F-AF5E16734EE0}"/>
                </a:ext>
              </a:extLst>
            </p:cNvPr>
            <p:cNvCxnSpPr/>
            <p:nvPr/>
          </p:nvCxnSpPr>
          <p:spPr bwMode="black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50BC9EDD-7DE6-4BFD-B8BA-096FC6854740}"/>
                </a:ext>
              </a:extLst>
            </p:cNvPr>
            <p:cNvCxnSpPr/>
            <p:nvPr/>
          </p:nvCxnSpPr>
          <p:spPr bwMode="black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5A68F5E3-97AE-485D-95D6-E376CCAA9FD2}"/>
                </a:ext>
              </a:extLst>
            </p:cNvPr>
            <p:cNvCxnSpPr/>
            <p:nvPr/>
          </p:nvCxnSpPr>
          <p:spPr bwMode="black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A7F5461A-5DFF-411F-8D51-6D8A8D41633D}"/>
                </a:ext>
              </a:extLst>
            </p:cNvPr>
            <p:cNvCxnSpPr/>
            <p:nvPr/>
          </p:nvCxnSpPr>
          <p:spPr bwMode="black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D6EB1BED-78CC-4D32-B9EC-365F21E504C5}"/>
                </a:ext>
              </a:extLst>
            </p:cNvPr>
            <p:cNvSpPr/>
            <p:nvPr/>
          </p:nvSpPr>
          <p:spPr bwMode="black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6B2B0CE-BED2-4A8E-B976-7A60F64DFC00}"/>
                </a:ext>
              </a:extLst>
            </p:cNvPr>
            <p:cNvSpPr/>
            <p:nvPr/>
          </p:nvSpPr>
          <p:spPr bwMode="black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E56C1226-B98B-4EDB-9E6A-6B515D35770B}"/>
                </a:ext>
              </a:extLst>
            </p:cNvPr>
            <p:cNvSpPr/>
            <p:nvPr/>
          </p:nvSpPr>
          <p:spPr bwMode="black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EA0791D-4B6C-4906-9CFA-B55A0B320381}"/>
                </a:ext>
              </a:extLst>
            </p:cNvPr>
            <p:cNvSpPr/>
            <p:nvPr/>
          </p:nvSpPr>
          <p:spPr bwMode="black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62F2EF8E-4944-4213-BD0D-5970084500D6}"/>
                </a:ext>
              </a:extLst>
            </p:cNvPr>
            <p:cNvSpPr/>
            <p:nvPr/>
          </p:nvSpPr>
          <p:spPr bwMode="black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9016A2A-6D82-40E7-8018-47D0C07AA5BD}"/>
                </a:ext>
              </a:extLst>
            </p:cNvPr>
            <p:cNvSpPr/>
            <p:nvPr/>
          </p:nvSpPr>
          <p:spPr bwMode="black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66FD7100-EF42-45BD-94B5-613A2F04C185}"/>
                </a:ext>
              </a:extLst>
            </p:cNvPr>
            <p:cNvSpPr/>
            <p:nvPr/>
          </p:nvSpPr>
          <p:spPr bwMode="black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603E0798-63B3-4C27-8EBF-F386A83E6517}"/>
                </a:ext>
              </a:extLst>
            </p:cNvPr>
            <p:cNvSpPr/>
            <p:nvPr/>
          </p:nvSpPr>
          <p:spPr bwMode="black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9137967C-7A1F-4023-8A97-0F07821B33BE}"/>
                </a:ext>
              </a:extLst>
            </p:cNvPr>
            <p:cNvSpPr/>
            <p:nvPr/>
          </p:nvSpPr>
          <p:spPr bwMode="black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98B56E15-B97E-4FAE-B8E8-EDCF6CC97078}"/>
                </a:ext>
              </a:extLst>
            </p:cNvPr>
            <p:cNvSpPr/>
            <p:nvPr/>
          </p:nvSpPr>
          <p:spPr bwMode="black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E9E2D6A-37E4-4841-8D15-5B45C43CF7CB}"/>
                </a:ext>
              </a:extLst>
            </p:cNvPr>
            <p:cNvSpPr/>
            <p:nvPr/>
          </p:nvSpPr>
          <p:spPr bwMode="black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E4FE627-0370-4AA8-B4DE-A569CDE73DB0}"/>
                </a:ext>
              </a:extLst>
            </p:cNvPr>
            <p:cNvSpPr/>
            <p:nvPr/>
          </p:nvSpPr>
          <p:spPr bwMode="black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DEC52A46-4F00-45B8-B38F-F07F7F22AB22}"/>
                </a:ext>
              </a:extLst>
            </p:cNvPr>
            <p:cNvSpPr/>
            <p:nvPr/>
          </p:nvSpPr>
          <p:spPr bwMode="black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9E3B94A-3673-41A7-9697-CE5C4EE0F9A4}"/>
                </a:ext>
              </a:extLst>
            </p:cNvPr>
            <p:cNvSpPr/>
            <p:nvPr/>
          </p:nvSpPr>
          <p:spPr bwMode="black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1D190D1-CF33-4B30-AF55-DFDB9C0BB517}"/>
                </a:ext>
              </a:extLst>
            </p:cNvPr>
            <p:cNvSpPr/>
            <p:nvPr userDrawn="1"/>
          </p:nvSpPr>
          <p:spPr bwMode="black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48F080D0-64C3-40E2-99B4-0D09EA5F0D04}"/>
                </a:ext>
              </a:extLst>
            </p:cNvPr>
            <p:cNvSpPr/>
            <p:nvPr userDrawn="1"/>
          </p:nvSpPr>
          <p:spPr bwMode="black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3C25522-509A-4F8D-9939-5FA7AE7F2ECA}"/>
                </a:ext>
              </a:extLst>
            </p:cNvPr>
            <p:cNvSpPr/>
            <p:nvPr userDrawn="1"/>
          </p:nvSpPr>
          <p:spPr bwMode="black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2528FF8-649D-413B-9158-202C45C3D702}"/>
                </a:ext>
              </a:extLst>
            </p:cNvPr>
            <p:cNvSpPr/>
            <p:nvPr userDrawn="1"/>
          </p:nvSpPr>
          <p:spPr bwMode="black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0C7226-6F28-47F6-A367-D463497FBBC1}"/>
                </a:ext>
              </a:extLst>
            </p:cNvPr>
            <p:cNvSpPr/>
            <p:nvPr userDrawn="1"/>
          </p:nvSpPr>
          <p:spPr bwMode="black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61603A5D-A8DF-4F11-9413-9609B7239201}"/>
                </a:ext>
              </a:extLst>
            </p:cNvPr>
            <p:cNvSpPr/>
            <p:nvPr userDrawn="1"/>
          </p:nvSpPr>
          <p:spPr bwMode="black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1263FD4-650A-474B-ADA5-6E5DE2E7B75F}"/>
                </a:ext>
              </a:extLst>
            </p:cNvPr>
            <p:cNvSpPr/>
            <p:nvPr userDrawn="1"/>
          </p:nvSpPr>
          <p:spPr bwMode="black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13692E4C-571A-4A8A-BFAD-1628979B77C0}"/>
                </a:ext>
              </a:extLst>
            </p:cNvPr>
            <p:cNvSpPr/>
            <p:nvPr userDrawn="1"/>
          </p:nvSpPr>
          <p:spPr bwMode="black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D3326C5-787B-4AFF-8F81-410A4B4FACB5}"/>
                </a:ext>
              </a:extLst>
            </p:cNvPr>
            <p:cNvSpPr/>
            <p:nvPr userDrawn="1"/>
          </p:nvSpPr>
          <p:spPr bwMode="black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053A6D0A-9EAC-478A-99B1-907537C49B56}"/>
                </a:ext>
              </a:extLst>
            </p:cNvPr>
            <p:cNvSpPr/>
            <p:nvPr userDrawn="1"/>
          </p:nvSpPr>
          <p:spPr bwMode="black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B6B81E14-5348-4227-99A4-CF914719ACFC}"/>
                </a:ext>
              </a:extLst>
            </p:cNvPr>
            <p:cNvSpPr/>
            <p:nvPr userDrawn="1"/>
          </p:nvSpPr>
          <p:spPr bwMode="black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143F8F32-7929-442F-8BB7-C0C66FB90D55}"/>
                </a:ext>
              </a:extLst>
            </p:cNvPr>
            <p:cNvCxnSpPr/>
            <p:nvPr userDrawn="1"/>
          </p:nvCxnSpPr>
          <p:spPr bwMode="black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5C9B89D8-9CD1-41D4-AC34-E9A57C6FFEBA}"/>
                </a:ext>
              </a:extLst>
            </p:cNvPr>
            <p:cNvCxnSpPr/>
            <p:nvPr userDrawn="1"/>
          </p:nvCxnSpPr>
          <p:spPr bwMode="black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24B0C090-3EFB-46F4-8DBC-1839EC90FCDF}"/>
                </a:ext>
              </a:extLst>
            </p:cNvPr>
            <p:cNvCxnSpPr/>
            <p:nvPr userDrawn="1"/>
          </p:nvCxnSpPr>
          <p:spPr bwMode="black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875AF502-AF31-4C6C-A53B-8AEE06C3C7FB}"/>
                </a:ext>
              </a:extLst>
            </p:cNvPr>
            <p:cNvCxnSpPr/>
            <p:nvPr userDrawn="1"/>
          </p:nvCxnSpPr>
          <p:spPr bwMode="black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6212CA46-8F32-40B5-A0D8-FC16417D9371}"/>
                </a:ext>
              </a:extLst>
            </p:cNvPr>
            <p:cNvCxnSpPr/>
            <p:nvPr userDrawn="1"/>
          </p:nvCxnSpPr>
          <p:spPr bwMode="black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A3B21382-0085-4175-8AC0-F94DFA036D94}"/>
                </a:ext>
              </a:extLst>
            </p:cNvPr>
            <p:cNvCxnSpPr/>
            <p:nvPr userDrawn="1"/>
          </p:nvCxnSpPr>
          <p:spPr bwMode="black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907B38DD-D005-464C-8AB2-BF535814140D}"/>
                </a:ext>
              </a:extLst>
            </p:cNvPr>
            <p:cNvCxnSpPr/>
            <p:nvPr userDrawn="1"/>
          </p:nvCxnSpPr>
          <p:spPr bwMode="black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A0CF34C7-8B28-4604-A373-40B4C721B966}"/>
                </a:ext>
              </a:extLst>
            </p:cNvPr>
            <p:cNvCxnSpPr/>
            <p:nvPr userDrawn="1"/>
          </p:nvCxnSpPr>
          <p:spPr bwMode="black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A900DA3F-2486-492C-B7B2-1E663023D25F}"/>
                </a:ext>
              </a:extLst>
            </p:cNvPr>
            <p:cNvCxnSpPr/>
            <p:nvPr userDrawn="1"/>
          </p:nvCxnSpPr>
          <p:spPr bwMode="black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948A37-4236-499A-A949-85D8B19E30AB}"/>
                </a:ext>
              </a:extLst>
            </p:cNvPr>
            <p:cNvCxnSpPr/>
            <p:nvPr userDrawn="1"/>
          </p:nvCxnSpPr>
          <p:spPr bwMode="black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CA5E68F8-CB8E-40D8-90FB-3603AF503419}"/>
                </a:ext>
              </a:extLst>
            </p:cNvPr>
            <p:cNvCxnSpPr/>
            <p:nvPr userDrawn="1"/>
          </p:nvCxnSpPr>
          <p:spPr bwMode="black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77621762-8D65-416D-A587-2C2334BE7047}"/>
                </a:ext>
              </a:extLst>
            </p:cNvPr>
            <p:cNvCxnSpPr/>
            <p:nvPr userDrawn="1"/>
          </p:nvCxnSpPr>
          <p:spPr bwMode="black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598D364B-A4C9-43E1-8D85-C5CC616BC6B5}"/>
                </a:ext>
              </a:extLst>
            </p:cNvPr>
            <p:cNvCxnSpPr/>
            <p:nvPr userDrawn="1"/>
          </p:nvCxnSpPr>
          <p:spPr bwMode="black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19931614-E06C-4E43-A98F-E5FF3D9E39C4}"/>
                </a:ext>
              </a:extLst>
            </p:cNvPr>
            <p:cNvCxnSpPr/>
            <p:nvPr userDrawn="1"/>
          </p:nvCxnSpPr>
          <p:spPr bwMode="black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75966B1F-DD62-45E3-B328-3DBD775B42FA}"/>
                </a:ext>
              </a:extLst>
            </p:cNvPr>
            <p:cNvCxnSpPr/>
            <p:nvPr userDrawn="1"/>
          </p:nvCxnSpPr>
          <p:spPr bwMode="black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FDEB7800-7AC2-4538-8AE8-F911639FD427}"/>
                </a:ext>
              </a:extLst>
            </p:cNvPr>
            <p:cNvCxnSpPr/>
            <p:nvPr userDrawn="1"/>
          </p:nvCxnSpPr>
          <p:spPr bwMode="black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9A115FB2-DC4D-436A-8063-FF137CAE6389}"/>
                </a:ext>
              </a:extLst>
            </p:cNvPr>
            <p:cNvCxnSpPr/>
            <p:nvPr userDrawn="1"/>
          </p:nvCxnSpPr>
          <p:spPr bwMode="black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F98FF541-9EB3-49B1-897B-D336CCA567B8}"/>
                </a:ext>
              </a:extLst>
            </p:cNvPr>
            <p:cNvCxnSpPr/>
            <p:nvPr userDrawn="1"/>
          </p:nvCxnSpPr>
          <p:spPr bwMode="black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4260A649-3D6D-4BC6-946A-6928B95F81CC}"/>
                </a:ext>
              </a:extLst>
            </p:cNvPr>
            <p:cNvCxnSpPr/>
            <p:nvPr userDrawn="1"/>
          </p:nvCxnSpPr>
          <p:spPr bwMode="black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F8BE56A6-B42B-4B9C-90E3-84B14199434E}"/>
                </a:ext>
              </a:extLst>
            </p:cNvPr>
            <p:cNvCxnSpPr/>
            <p:nvPr userDrawn="1"/>
          </p:nvCxnSpPr>
          <p:spPr bwMode="black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C4EC45F3-37D7-44EE-A849-842E1535952B}"/>
                </a:ext>
              </a:extLst>
            </p:cNvPr>
            <p:cNvCxnSpPr/>
            <p:nvPr userDrawn="1"/>
          </p:nvCxnSpPr>
          <p:spPr bwMode="black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158631F1-B7AA-40DE-B525-55DB7146B7C0}"/>
                </a:ext>
              </a:extLst>
            </p:cNvPr>
            <p:cNvCxnSpPr/>
            <p:nvPr userDrawn="1"/>
          </p:nvCxnSpPr>
          <p:spPr bwMode="black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F51C7B3B-ADBB-43C5-82F1-FE1246B1F92D}"/>
                </a:ext>
              </a:extLst>
            </p:cNvPr>
            <p:cNvCxnSpPr/>
            <p:nvPr userDrawn="1"/>
          </p:nvCxnSpPr>
          <p:spPr bwMode="black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95CE7C2D-DFB0-4C7E-AFFB-827F7DC37F45}"/>
                </a:ext>
              </a:extLst>
            </p:cNvPr>
            <p:cNvCxnSpPr/>
            <p:nvPr userDrawn="1"/>
          </p:nvCxnSpPr>
          <p:spPr bwMode="black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70C15565-1864-42C1-8791-4CA22CD27A74}"/>
                </a:ext>
              </a:extLst>
            </p:cNvPr>
            <p:cNvCxnSpPr/>
            <p:nvPr userDrawn="1"/>
          </p:nvCxnSpPr>
          <p:spPr bwMode="black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C37EAB08-5991-46B9-A2EF-524961B3F21E}"/>
                </a:ext>
              </a:extLst>
            </p:cNvPr>
            <p:cNvCxnSpPr/>
            <p:nvPr userDrawn="1"/>
          </p:nvCxnSpPr>
          <p:spPr bwMode="black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A0E2CEF5-BAA6-4E34-B91C-7AA2E535007E}"/>
                </a:ext>
              </a:extLst>
            </p:cNvPr>
            <p:cNvCxnSpPr/>
            <p:nvPr userDrawn="1"/>
          </p:nvCxnSpPr>
          <p:spPr bwMode="black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0B41CC35-5CAF-4787-92BC-2280B3D7C5AF}"/>
                </a:ext>
              </a:extLst>
            </p:cNvPr>
            <p:cNvCxnSpPr/>
            <p:nvPr userDrawn="1"/>
          </p:nvCxnSpPr>
          <p:spPr bwMode="black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36BAFFA-3892-4930-BEDC-F5374DF3C70C}"/>
                </a:ext>
              </a:extLst>
            </p:cNvPr>
            <p:cNvCxnSpPr/>
            <p:nvPr userDrawn="1"/>
          </p:nvCxnSpPr>
          <p:spPr bwMode="black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BF40D988-40F2-4D98-8536-F98F87FECD78}"/>
                </a:ext>
              </a:extLst>
            </p:cNvPr>
            <p:cNvCxnSpPr/>
            <p:nvPr userDrawn="1"/>
          </p:nvCxnSpPr>
          <p:spPr bwMode="black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37C48DC-629B-488D-A8BA-827B057FF370}"/>
                </a:ext>
              </a:extLst>
            </p:cNvPr>
            <p:cNvCxnSpPr/>
            <p:nvPr userDrawn="1"/>
          </p:nvCxnSpPr>
          <p:spPr bwMode="black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7FBAB12-8763-4178-A84F-1AC12282F22B}"/>
                </a:ext>
              </a:extLst>
            </p:cNvPr>
            <p:cNvCxnSpPr/>
            <p:nvPr userDrawn="1"/>
          </p:nvCxnSpPr>
          <p:spPr bwMode="black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2B4E1970-E83D-41AA-A923-1370D54AA2E3}"/>
                </a:ext>
              </a:extLst>
            </p:cNvPr>
            <p:cNvCxnSpPr/>
            <p:nvPr userDrawn="1"/>
          </p:nvCxnSpPr>
          <p:spPr bwMode="black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1ACBBE67-427E-45ED-BE57-9DCFD90768BB}"/>
                </a:ext>
              </a:extLst>
            </p:cNvPr>
            <p:cNvCxnSpPr/>
            <p:nvPr userDrawn="1"/>
          </p:nvCxnSpPr>
          <p:spPr bwMode="black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CEB291A1-7CB7-4CC7-A0AF-92DE6363D415}"/>
                </a:ext>
              </a:extLst>
            </p:cNvPr>
            <p:cNvCxnSpPr/>
            <p:nvPr userDrawn="1"/>
          </p:nvCxnSpPr>
          <p:spPr bwMode="black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E207257-9E01-42E0-9B60-49057E56A267}"/>
                </a:ext>
              </a:extLst>
            </p:cNvPr>
            <p:cNvCxnSpPr/>
            <p:nvPr userDrawn="1"/>
          </p:nvCxnSpPr>
          <p:spPr bwMode="black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BE46D29A-3863-4E5B-AACA-73AD1278E6E0}"/>
                </a:ext>
              </a:extLst>
            </p:cNvPr>
            <p:cNvCxnSpPr/>
            <p:nvPr userDrawn="1"/>
          </p:nvCxnSpPr>
          <p:spPr bwMode="black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4BCDEE12-5C12-4C99-9776-AD55011F32D9}"/>
                </a:ext>
              </a:extLst>
            </p:cNvPr>
            <p:cNvCxnSpPr/>
            <p:nvPr userDrawn="1"/>
          </p:nvCxnSpPr>
          <p:spPr bwMode="black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C8F4A8FC-962B-4CFC-B40A-5BB4703635C6}"/>
                </a:ext>
              </a:extLst>
            </p:cNvPr>
            <p:cNvCxnSpPr/>
            <p:nvPr userDrawn="1"/>
          </p:nvCxnSpPr>
          <p:spPr bwMode="black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1B60DD79-5964-4499-8116-CE245C9F9726}"/>
                </a:ext>
              </a:extLst>
            </p:cNvPr>
            <p:cNvCxnSpPr/>
            <p:nvPr userDrawn="1"/>
          </p:nvCxnSpPr>
          <p:spPr bwMode="black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ADAE6510-8C95-4A68-B84B-98F6C980AF4D}"/>
                </a:ext>
              </a:extLst>
            </p:cNvPr>
            <p:cNvCxnSpPr/>
            <p:nvPr userDrawn="1"/>
          </p:nvCxnSpPr>
          <p:spPr bwMode="black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9CB38C0C-133A-46B0-AFF7-3BB73278AE29}"/>
                </a:ext>
              </a:extLst>
            </p:cNvPr>
            <p:cNvCxnSpPr/>
            <p:nvPr userDrawn="1"/>
          </p:nvCxnSpPr>
          <p:spPr bwMode="black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0B8911-0E96-49A4-A77E-E1CBF561D651}"/>
                </a:ext>
              </a:extLst>
            </p:cNvPr>
            <p:cNvCxnSpPr/>
            <p:nvPr userDrawn="1"/>
          </p:nvCxnSpPr>
          <p:spPr bwMode="black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4B3128C-44A7-4090-B140-13F329C65E5F}"/>
                </a:ext>
              </a:extLst>
            </p:cNvPr>
            <p:cNvCxnSpPr/>
            <p:nvPr userDrawn="1"/>
          </p:nvCxnSpPr>
          <p:spPr bwMode="black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main body box">
              <a:extLst>
                <a:ext uri="{FF2B5EF4-FFF2-40B4-BE49-F238E27FC236}">
                  <a16:creationId xmlns:a16="http://schemas.microsoft.com/office/drawing/2014/main" id="{971F9B34-45CC-49E1-8D54-75CCE459F143}"/>
                </a:ext>
              </a:extLst>
            </p:cNvPr>
            <p:cNvSpPr/>
            <p:nvPr userDrawn="1"/>
          </p:nvSpPr>
          <p:spPr bwMode="black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4975051F-B1E9-4B77-B1CE-656C40400806}"/>
                </a:ext>
              </a:extLst>
            </p:cNvPr>
            <p:cNvCxnSpPr/>
            <p:nvPr userDrawn="1"/>
          </p:nvCxnSpPr>
          <p:spPr bwMode="black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11499B0E-A65F-4C3C-9EF2-ACEEFC52BA10}"/>
                </a:ext>
              </a:extLst>
            </p:cNvPr>
            <p:cNvCxnSpPr/>
            <p:nvPr userDrawn="1"/>
          </p:nvCxnSpPr>
          <p:spPr bwMode="black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79" name="Sticker" hidden="1">
            <a:extLst>
              <a:ext uri="{FF2B5EF4-FFF2-40B4-BE49-F238E27FC236}">
                <a16:creationId xmlns:a16="http://schemas.microsoft.com/office/drawing/2014/main" id="{D5A3AED6-095A-4E0F-BBC2-F64956A5A35F}"/>
              </a:ext>
            </a:extLst>
          </p:cNvPr>
          <p:cNvSpPr txBox="1"/>
          <p:nvPr userDrawn="1"/>
        </p:nvSpPr>
        <p:spPr>
          <a:xfrm>
            <a:off x="416052" y="834828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7250CB3F-D950-40B0-AE7A-A36A3C1D43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2155825"/>
            <a:ext cx="2168863" cy="14465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228600" lvl="1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</a:pPr>
            <a:r>
              <a:rPr lang="en-US" dirty="0"/>
              <a:t>Second level</a:t>
            </a:r>
          </a:p>
          <a:p>
            <a:pPr marL="442913" lvl="2" indent="-2143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</a:pPr>
            <a:r>
              <a:rPr lang="en-US" dirty="0"/>
              <a:t>Third level</a:t>
            </a:r>
          </a:p>
          <a:p>
            <a:pPr marL="598488" lvl="3" indent="-152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817563" lvl="4" indent="-1476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</a:pPr>
            <a:r>
              <a:rPr lang="en-US" dirty="0"/>
              <a:t>Fifth level</a:t>
            </a:r>
          </a:p>
        </p:txBody>
      </p:sp>
      <p:sp>
        <p:nvSpPr>
          <p:cNvPr id="148" name="ACET" hidden="1">
            <a:extLst>
              <a:ext uri="{FF2B5EF4-FFF2-40B4-BE49-F238E27FC236}">
                <a16:creationId xmlns:a16="http://schemas.microsoft.com/office/drawing/2014/main" id="{E2A40DA4-2968-440F-8EF9-A748702F6C09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15925" y="2133600"/>
            <a:ext cx="3049253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400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E0A09D9C-D3DD-4743-8AAB-92B033D79258}"/>
              </a:ext>
            </a:extLst>
          </p:cNvPr>
          <p:cNvGrpSpPr/>
          <p:nvPr userDrawn="1"/>
        </p:nvGrpSpPr>
        <p:grpSpPr>
          <a:xfrm>
            <a:off x="7892047" y="4340399"/>
            <a:ext cx="835901" cy="1686504"/>
            <a:chOff x="7756825" y="4379430"/>
            <a:chExt cx="835901" cy="1686504"/>
          </a:xfrm>
        </p:grpSpPr>
        <p:sp>
          <p:nvSpPr>
            <p:cNvPr id="170" name="RectangleLegend1">
              <a:extLst>
                <a:ext uri="{FF2B5EF4-FFF2-40B4-BE49-F238E27FC236}">
                  <a16:creationId xmlns:a16="http://schemas.microsoft.com/office/drawing/2014/main" id="{88A1A98E-82C7-42FC-B1A4-DFC0CB3162DC}"/>
                </a:ext>
              </a:extLst>
            </p:cNvPr>
            <p:cNvSpPr/>
            <p:nvPr/>
          </p:nvSpPr>
          <p:spPr>
            <a:xfrm>
              <a:off x="7756825" y="4385399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71" name="RectangleLegend2">
              <a:extLst>
                <a:ext uri="{FF2B5EF4-FFF2-40B4-BE49-F238E27FC236}">
                  <a16:creationId xmlns:a16="http://schemas.microsoft.com/office/drawing/2014/main" id="{9C048AB1-C464-4D6F-8542-20BB621C3951}"/>
                </a:ext>
              </a:extLst>
            </p:cNvPr>
            <p:cNvSpPr/>
            <p:nvPr/>
          </p:nvSpPr>
          <p:spPr>
            <a:xfrm>
              <a:off x="7756825" y="4764897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72" name="RectangleLegend3">
              <a:extLst>
                <a:ext uri="{FF2B5EF4-FFF2-40B4-BE49-F238E27FC236}">
                  <a16:creationId xmlns:a16="http://schemas.microsoft.com/office/drawing/2014/main" id="{72798CE4-73A9-4948-B732-0FD23AA43B71}"/>
                </a:ext>
              </a:extLst>
            </p:cNvPr>
            <p:cNvSpPr/>
            <p:nvPr/>
          </p:nvSpPr>
          <p:spPr>
            <a:xfrm>
              <a:off x="7756825" y="5138493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80" name="RectangleLegend4">
              <a:extLst>
                <a:ext uri="{FF2B5EF4-FFF2-40B4-BE49-F238E27FC236}">
                  <a16:creationId xmlns:a16="http://schemas.microsoft.com/office/drawing/2014/main" id="{9229CD5B-B0FB-4386-8A71-B426DB05803D}"/>
                </a:ext>
              </a:extLst>
            </p:cNvPr>
            <p:cNvSpPr/>
            <p:nvPr/>
          </p:nvSpPr>
          <p:spPr>
            <a:xfrm>
              <a:off x="7756825" y="5512089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82" name="RectangleLegend5">
              <a:extLst>
                <a:ext uri="{FF2B5EF4-FFF2-40B4-BE49-F238E27FC236}">
                  <a16:creationId xmlns:a16="http://schemas.microsoft.com/office/drawing/2014/main" id="{EBBB8262-1858-4898-9E36-00D0CE90C681}"/>
                </a:ext>
              </a:extLst>
            </p:cNvPr>
            <p:cNvSpPr/>
            <p:nvPr/>
          </p:nvSpPr>
          <p:spPr>
            <a:xfrm>
              <a:off x="7756825" y="5885685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83" name="Legend1">
              <a:extLst>
                <a:ext uri="{FF2B5EF4-FFF2-40B4-BE49-F238E27FC236}">
                  <a16:creationId xmlns:a16="http://schemas.microsoft.com/office/drawing/2014/main" id="{690BCB96-7AFD-491F-A0D7-8C9687DC0B8E}"/>
                </a:ext>
              </a:extLst>
            </p:cNvPr>
            <p:cNvSpPr txBox="1"/>
            <p:nvPr/>
          </p:nvSpPr>
          <p:spPr>
            <a:xfrm>
              <a:off x="8082971" y="4379430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84" name="Legend2">
              <a:extLst>
                <a:ext uri="{FF2B5EF4-FFF2-40B4-BE49-F238E27FC236}">
                  <a16:creationId xmlns:a16="http://schemas.microsoft.com/office/drawing/2014/main" id="{6631EB21-9D00-4FBD-94AF-A25EAFEBB9CF}"/>
                </a:ext>
              </a:extLst>
            </p:cNvPr>
            <p:cNvSpPr txBox="1"/>
            <p:nvPr/>
          </p:nvSpPr>
          <p:spPr>
            <a:xfrm>
              <a:off x="8082971" y="4758928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85" name="Legend3">
              <a:extLst>
                <a:ext uri="{FF2B5EF4-FFF2-40B4-BE49-F238E27FC236}">
                  <a16:creationId xmlns:a16="http://schemas.microsoft.com/office/drawing/2014/main" id="{46AC9C09-CF67-4EBE-B41B-1B4F52F66DEE}"/>
                </a:ext>
              </a:extLst>
            </p:cNvPr>
            <p:cNvSpPr txBox="1"/>
            <p:nvPr/>
          </p:nvSpPr>
          <p:spPr>
            <a:xfrm>
              <a:off x="8082971" y="5138426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86" name="Legend4">
              <a:extLst>
                <a:ext uri="{FF2B5EF4-FFF2-40B4-BE49-F238E27FC236}">
                  <a16:creationId xmlns:a16="http://schemas.microsoft.com/office/drawing/2014/main" id="{AED040D5-B940-4CD6-AADF-D6523BA11478}"/>
                </a:ext>
              </a:extLst>
            </p:cNvPr>
            <p:cNvSpPr txBox="1"/>
            <p:nvPr/>
          </p:nvSpPr>
          <p:spPr>
            <a:xfrm>
              <a:off x="8082971" y="5509847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87" name="Legend5">
              <a:extLst>
                <a:ext uri="{FF2B5EF4-FFF2-40B4-BE49-F238E27FC236}">
                  <a16:creationId xmlns:a16="http://schemas.microsoft.com/office/drawing/2014/main" id="{52D09B84-696F-4924-9269-DCE81E7805E6}"/>
                </a:ext>
              </a:extLst>
            </p:cNvPr>
            <p:cNvSpPr txBox="1"/>
            <p:nvPr/>
          </p:nvSpPr>
          <p:spPr>
            <a:xfrm>
              <a:off x="8082970" y="5881268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</p:grpSp>
      <p:grpSp>
        <p:nvGrpSpPr>
          <p:cNvPr id="188" name="LegendLines" hidden="1">
            <a:extLst>
              <a:ext uri="{FF2B5EF4-FFF2-40B4-BE49-F238E27FC236}">
                <a16:creationId xmlns:a16="http://schemas.microsoft.com/office/drawing/2014/main" id="{151703DE-CFCE-4548-825F-C0AE80B43A82}"/>
              </a:ext>
            </a:extLst>
          </p:cNvPr>
          <p:cNvGrpSpPr/>
          <p:nvPr userDrawn="1"/>
        </p:nvGrpSpPr>
        <p:grpSpPr>
          <a:xfrm>
            <a:off x="7601970" y="3209317"/>
            <a:ext cx="1125978" cy="927508"/>
            <a:chOff x="7495285" y="2250552"/>
            <a:chExt cx="1125978" cy="927508"/>
          </a:xfrm>
        </p:grpSpPr>
        <p:sp>
          <p:nvSpPr>
            <p:cNvPr id="189" name="Legend1">
              <a:extLst>
                <a:ext uri="{FF2B5EF4-FFF2-40B4-BE49-F238E27FC236}">
                  <a16:creationId xmlns:a16="http://schemas.microsoft.com/office/drawing/2014/main" id="{B11C0E3E-1598-4BDF-A6AD-638C23A0834B}"/>
                </a:ext>
              </a:extLst>
            </p:cNvPr>
            <p:cNvSpPr txBox="1"/>
            <p:nvPr/>
          </p:nvSpPr>
          <p:spPr>
            <a:xfrm>
              <a:off x="8111508" y="2250552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90" name="Legend2">
              <a:extLst>
                <a:ext uri="{FF2B5EF4-FFF2-40B4-BE49-F238E27FC236}">
                  <a16:creationId xmlns:a16="http://schemas.microsoft.com/office/drawing/2014/main" id="{2649E328-C652-4C95-8812-29D30433774C}"/>
                </a:ext>
              </a:extLst>
            </p:cNvPr>
            <p:cNvSpPr txBox="1"/>
            <p:nvPr/>
          </p:nvSpPr>
          <p:spPr>
            <a:xfrm>
              <a:off x="8111508" y="262197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91" name="Legend3">
              <a:extLst>
                <a:ext uri="{FF2B5EF4-FFF2-40B4-BE49-F238E27FC236}">
                  <a16:creationId xmlns:a16="http://schemas.microsoft.com/office/drawing/2014/main" id="{C4CE84D4-139F-41DF-B0D0-885FDBBEC903}"/>
                </a:ext>
              </a:extLst>
            </p:cNvPr>
            <p:cNvSpPr txBox="1"/>
            <p:nvPr/>
          </p:nvSpPr>
          <p:spPr>
            <a:xfrm>
              <a:off x="8111508" y="2993394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92" name="LineLegend3">
              <a:extLst>
                <a:ext uri="{FF2B5EF4-FFF2-40B4-BE49-F238E27FC236}">
                  <a16:creationId xmlns:a16="http://schemas.microsoft.com/office/drawing/2014/main" id="{47146DE1-2652-4995-8E31-5E4D0DF1299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3084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193" name="LineLegend2">
              <a:extLst>
                <a:ext uri="{FF2B5EF4-FFF2-40B4-BE49-F238E27FC236}">
                  <a16:creationId xmlns:a16="http://schemas.microsoft.com/office/drawing/2014/main" id="{064840E9-E668-4FB9-8155-45041706FB6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710816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194" name="LineLegend1">
              <a:extLst>
                <a:ext uri="{FF2B5EF4-FFF2-40B4-BE49-F238E27FC236}">
                  <a16:creationId xmlns:a16="http://schemas.microsoft.com/office/drawing/2014/main" id="{9781F686-7F56-4F84-95A4-CE611F69536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34288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95" name="LegendMoons" hidden="1">
            <a:extLst>
              <a:ext uri="{FF2B5EF4-FFF2-40B4-BE49-F238E27FC236}">
                <a16:creationId xmlns:a16="http://schemas.microsoft.com/office/drawing/2014/main" id="{76210C5F-BCAF-41E4-882C-D8F83DEBB10A}"/>
              </a:ext>
            </a:extLst>
          </p:cNvPr>
          <p:cNvGrpSpPr/>
          <p:nvPr userDrawn="1"/>
        </p:nvGrpSpPr>
        <p:grpSpPr>
          <a:xfrm>
            <a:off x="7865561" y="1289273"/>
            <a:ext cx="862387" cy="1731859"/>
            <a:chOff x="7723680" y="1702457"/>
            <a:chExt cx="862387" cy="1731859"/>
          </a:xfrm>
        </p:grpSpPr>
        <p:sp>
          <p:nvSpPr>
            <p:cNvPr id="196" name="Legend1">
              <a:extLst>
                <a:ext uri="{FF2B5EF4-FFF2-40B4-BE49-F238E27FC236}">
                  <a16:creationId xmlns:a16="http://schemas.microsoft.com/office/drawing/2014/main" id="{E69A0B3A-CBDC-43DC-B25C-92877F56162D}"/>
                </a:ext>
              </a:extLst>
            </p:cNvPr>
            <p:cNvSpPr txBox="1"/>
            <p:nvPr/>
          </p:nvSpPr>
          <p:spPr>
            <a:xfrm>
              <a:off x="8076312" y="1725205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97" name="Legend2">
              <a:extLst>
                <a:ext uri="{FF2B5EF4-FFF2-40B4-BE49-F238E27FC236}">
                  <a16:creationId xmlns:a16="http://schemas.microsoft.com/office/drawing/2014/main" id="{BA11DA3E-0006-45D3-B28B-28A0D00149F6}"/>
                </a:ext>
              </a:extLst>
            </p:cNvPr>
            <p:cNvSpPr txBox="1"/>
            <p:nvPr/>
          </p:nvSpPr>
          <p:spPr>
            <a:xfrm>
              <a:off x="8076312" y="2100664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B849E806-DD0E-4BD7-8815-B8CF18C58A5F}"/>
                </a:ext>
              </a:extLst>
            </p:cNvPr>
            <p:cNvSpPr txBox="1"/>
            <p:nvPr/>
          </p:nvSpPr>
          <p:spPr>
            <a:xfrm>
              <a:off x="8076312" y="247612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C3FE2AB4-2647-482F-89E1-54234E787BF4}"/>
                </a:ext>
              </a:extLst>
            </p:cNvPr>
            <p:cNvSpPr txBox="1"/>
            <p:nvPr/>
          </p:nvSpPr>
          <p:spPr>
            <a:xfrm>
              <a:off x="8076312" y="2851582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52E11976-AAE5-431F-8148-629907683956}"/>
                </a:ext>
              </a:extLst>
            </p:cNvPr>
            <p:cNvSpPr txBox="1"/>
            <p:nvPr/>
          </p:nvSpPr>
          <p:spPr>
            <a:xfrm>
              <a:off x="8076312" y="322704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6A7F292C-CAF1-4B26-B85A-993CE5F5557B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14CE8F70-B2B3-46A2-A9FF-EA4DC1E97A9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DFF3186E-2B00-4CB3-A700-397F58BC947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9BA1EC50-4DFE-4FA9-A23F-38CE89A6EB94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B6A12EC6-DFBC-4708-BA78-3045C5508A2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C823BE3-1604-4447-8577-F7828E2CD78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29FD19C6-DC25-4764-9BAD-ACE4E8B81D95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56F2E8B-B601-400A-A04F-4B6F4F73E59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40999996-F0D2-4392-B4ED-25A1D8C6EA45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5613CAE3-3C31-4661-8B8D-144C0AE7AFD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3CE9C8AB-F5BC-4026-A579-844E168163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DD658BB3-0D67-4F45-9C75-3217C6908B5D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CB34E80-8876-4528-8658-81B4BF41FB5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B080E466-6273-41CA-8058-44982ED73801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7C3F9581-221B-41E7-84E3-CCC248E9537D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6" r:id="rId13"/>
    <p:sldLayoutId id="2147483878" r:id="rId14"/>
  </p:sldLayoutIdLst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lang="en-US" sz="22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 userDrawn="1">
          <p15:clr>
            <a:srgbClr val="5ACBF0"/>
          </p15:clr>
        </p15:guide>
        <p15:guide id="3" orient="horz" pos="3912" userDrawn="1">
          <p15:clr>
            <a:srgbClr val="5ACBF0"/>
          </p15:clr>
        </p15:guide>
        <p15:guide id="4" orient="horz" pos="1075" userDrawn="1">
          <p15:clr>
            <a:srgbClr val="F26B43"/>
          </p15:clr>
        </p15:guide>
        <p15:guide id="5" pos="5497" userDrawn="1">
          <p15:clr>
            <a:srgbClr val="F26B43"/>
          </p15:clr>
        </p15:guide>
        <p15:guide id="6" pos="259" userDrawn="1">
          <p15:clr>
            <a:srgbClr val="F26B43"/>
          </p15:clr>
        </p15:guide>
        <p15:guide id="8" orient="horz" pos="406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8963AA3D-EFA3-4938-9D41-C8DDC03F7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7" name="think-cell Slide" r:id="rId43" imgW="572" imgH="588" progId="TCLayout.ActiveDocument.1">
                  <p:embed/>
                </p:oleObj>
              </mc:Choice>
              <mc:Fallback>
                <p:oleObj name="think-cell Slide" r:id="rId43" imgW="572" imgH="58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8963AA3D-EFA3-4938-9D41-C8DDC03F7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 hidden="1">
            <a:extLst>
              <a:ext uri="{FF2B5EF4-FFF2-40B4-BE49-F238E27FC236}">
                <a16:creationId xmlns:a16="http://schemas.microsoft.com/office/drawing/2014/main" id="{C4A855FC-965A-4859-83A9-629E80C693BF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2" name="4. Footnote" hidden="1">
            <a:extLst>
              <a:ext uri="{FF2B5EF4-FFF2-40B4-BE49-F238E27FC236}">
                <a16:creationId xmlns:a16="http://schemas.microsoft.com/office/drawing/2014/main" id="{06E07A66-B8BA-42E8-A0F6-6B0251CAA48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411480" y="6274554"/>
            <a:ext cx="831189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BAD3E984-2EF2-43CD-BB0E-16A737B99040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416052" y="173736"/>
            <a:ext cx="8311896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3" name="Grid" hidden="1">
            <a:extLst>
              <a:ext uri="{FF2B5EF4-FFF2-40B4-BE49-F238E27FC236}">
                <a16:creationId xmlns:a16="http://schemas.microsoft.com/office/drawing/2014/main" id="{564EB9F6-AC04-42ED-9CB6-6D01335D9982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 bwMode="blackGray">
          <a:xfrm>
            <a:off x="1" y="0"/>
            <a:ext cx="9142857" cy="6858000"/>
            <a:chOff x="0" y="0"/>
            <a:chExt cx="12190476" cy="6858000"/>
          </a:xfrm>
        </p:grpSpPr>
        <p:sp>
          <p:nvSpPr>
            <p:cNvPr id="55" name="slide margin">
              <a:extLst>
                <a:ext uri="{FF2B5EF4-FFF2-40B4-BE49-F238E27FC236}">
                  <a16:creationId xmlns:a16="http://schemas.microsoft.com/office/drawing/2014/main" id="{F5DBB269-56D9-4200-9112-12E14BA26FC3}"/>
                </a:ext>
              </a:extLst>
            </p:cNvPr>
            <p:cNvSpPr/>
            <p:nvPr/>
          </p:nvSpPr>
          <p:spPr bwMode="black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7A4F8EE-DD16-44D6-8659-4BC61E1C4968}"/>
                </a:ext>
              </a:extLst>
            </p:cNvPr>
            <p:cNvCxnSpPr/>
            <p:nvPr/>
          </p:nvCxnSpPr>
          <p:spPr bwMode="black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A20FAAC0-CCE6-4BC5-A835-E805E4CFE84B}"/>
                </a:ext>
              </a:extLst>
            </p:cNvPr>
            <p:cNvCxnSpPr/>
            <p:nvPr/>
          </p:nvCxnSpPr>
          <p:spPr bwMode="black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CE62967-F8DD-442A-A2C7-5EC8AB9FE8CE}"/>
                </a:ext>
              </a:extLst>
            </p:cNvPr>
            <p:cNvCxnSpPr/>
            <p:nvPr/>
          </p:nvCxnSpPr>
          <p:spPr bwMode="black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D8E0C4-F713-47B9-9258-FCC3EF4AC2D3}"/>
                </a:ext>
              </a:extLst>
            </p:cNvPr>
            <p:cNvCxnSpPr/>
            <p:nvPr/>
          </p:nvCxnSpPr>
          <p:spPr bwMode="black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9209D019-80C7-44F7-B340-FDC6CF76FDFE}"/>
                </a:ext>
              </a:extLst>
            </p:cNvPr>
            <p:cNvCxnSpPr/>
            <p:nvPr/>
          </p:nvCxnSpPr>
          <p:spPr bwMode="black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B6FCE71-887F-4F0B-ACCD-6CFCD13E12A8}"/>
                </a:ext>
              </a:extLst>
            </p:cNvPr>
            <p:cNvCxnSpPr/>
            <p:nvPr/>
          </p:nvCxnSpPr>
          <p:spPr bwMode="black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25852E5-79E9-4D30-89F2-E8E3C7A8A8D3}"/>
                </a:ext>
              </a:extLst>
            </p:cNvPr>
            <p:cNvCxnSpPr/>
            <p:nvPr/>
          </p:nvCxnSpPr>
          <p:spPr bwMode="black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1894E67-6006-4C83-BBB3-824E5C6CAE33}"/>
                </a:ext>
              </a:extLst>
            </p:cNvPr>
            <p:cNvCxnSpPr/>
            <p:nvPr/>
          </p:nvCxnSpPr>
          <p:spPr bwMode="black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8B05A6-707C-49A0-B29E-A54224F6D77E}"/>
                </a:ext>
              </a:extLst>
            </p:cNvPr>
            <p:cNvCxnSpPr/>
            <p:nvPr/>
          </p:nvCxnSpPr>
          <p:spPr bwMode="black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6D036E9-E68E-45AC-88B1-3889BA9AC140}"/>
                </a:ext>
              </a:extLst>
            </p:cNvPr>
            <p:cNvCxnSpPr/>
            <p:nvPr/>
          </p:nvCxnSpPr>
          <p:spPr bwMode="black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228A5C01-418B-415F-ACE4-12657A25C674}"/>
                </a:ext>
              </a:extLst>
            </p:cNvPr>
            <p:cNvCxnSpPr/>
            <p:nvPr/>
          </p:nvCxnSpPr>
          <p:spPr bwMode="black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CD3EFBD-902E-4760-89FE-386EC5FAB5DD}"/>
                </a:ext>
              </a:extLst>
            </p:cNvPr>
            <p:cNvCxnSpPr/>
            <p:nvPr/>
          </p:nvCxnSpPr>
          <p:spPr bwMode="black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6E80E37-4393-4509-A7F8-81796082DBE6}"/>
                </a:ext>
              </a:extLst>
            </p:cNvPr>
            <p:cNvSpPr/>
            <p:nvPr/>
          </p:nvSpPr>
          <p:spPr bwMode="black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8B6547D-77F2-421A-BE02-C2FE626088A2}"/>
                </a:ext>
              </a:extLst>
            </p:cNvPr>
            <p:cNvSpPr/>
            <p:nvPr/>
          </p:nvSpPr>
          <p:spPr bwMode="black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3092C087-1CB5-40EB-AAE7-4F62179E5B3D}"/>
                </a:ext>
              </a:extLst>
            </p:cNvPr>
            <p:cNvSpPr/>
            <p:nvPr/>
          </p:nvSpPr>
          <p:spPr bwMode="black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70C581B-2D28-48E7-9BF1-F773AD6A082F}"/>
                </a:ext>
              </a:extLst>
            </p:cNvPr>
            <p:cNvSpPr/>
            <p:nvPr/>
          </p:nvSpPr>
          <p:spPr bwMode="black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05DE51E3-D897-4994-9418-E8C2DE782A3A}"/>
                </a:ext>
              </a:extLst>
            </p:cNvPr>
            <p:cNvSpPr/>
            <p:nvPr/>
          </p:nvSpPr>
          <p:spPr bwMode="black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D9B6F9F-FA16-4594-8B72-43FF5F17F7FC}"/>
                </a:ext>
              </a:extLst>
            </p:cNvPr>
            <p:cNvSpPr/>
            <p:nvPr/>
          </p:nvSpPr>
          <p:spPr bwMode="black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21EA58F-1F84-493C-ACF6-F9FACAF48256}"/>
                </a:ext>
              </a:extLst>
            </p:cNvPr>
            <p:cNvSpPr/>
            <p:nvPr/>
          </p:nvSpPr>
          <p:spPr bwMode="black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08E60CB-D491-446F-999C-C54AA89B3EC2}"/>
                </a:ext>
              </a:extLst>
            </p:cNvPr>
            <p:cNvSpPr/>
            <p:nvPr/>
          </p:nvSpPr>
          <p:spPr bwMode="black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A798CCB-595D-477E-BB68-277026AE1F58}"/>
                </a:ext>
              </a:extLst>
            </p:cNvPr>
            <p:cNvSpPr/>
            <p:nvPr/>
          </p:nvSpPr>
          <p:spPr bwMode="black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DE4A3B3-1B25-4F73-AFB0-BC5117472C58}"/>
                </a:ext>
              </a:extLst>
            </p:cNvPr>
            <p:cNvSpPr/>
            <p:nvPr/>
          </p:nvSpPr>
          <p:spPr bwMode="black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B244C56-8768-49BE-9C5F-39DC27091866}"/>
                </a:ext>
              </a:extLst>
            </p:cNvPr>
            <p:cNvSpPr/>
            <p:nvPr/>
          </p:nvSpPr>
          <p:spPr bwMode="black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FF016B4B-663C-4A99-BA16-526587A98E3A}"/>
                </a:ext>
              </a:extLst>
            </p:cNvPr>
            <p:cNvSpPr/>
            <p:nvPr/>
          </p:nvSpPr>
          <p:spPr bwMode="black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0EE0782-4BFF-4C76-83A4-65CB2A78CF86}"/>
                </a:ext>
              </a:extLst>
            </p:cNvPr>
            <p:cNvSpPr/>
            <p:nvPr/>
          </p:nvSpPr>
          <p:spPr bwMode="black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922C003-5270-4D9A-ADCB-FBD0BCF17B75}"/>
                </a:ext>
              </a:extLst>
            </p:cNvPr>
            <p:cNvSpPr/>
            <p:nvPr/>
          </p:nvSpPr>
          <p:spPr bwMode="black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D711215-3D48-4B08-99DB-BE3939FDAC79}"/>
                </a:ext>
              </a:extLst>
            </p:cNvPr>
            <p:cNvSpPr/>
            <p:nvPr userDrawn="1"/>
          </p:nvSpPr>
          <p:spPr bwMode="black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DDFDFFA-F184-43C9-870C-DCF3B877593B}"/>
                </a:ext>
              </a:extLst>
            </p:cNvPr>
            <p:cNvSpPr/>
            <p:nvPr userDrawn="1"/>
          </p:nvSpPr>
          <p:spPr bwMode="black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7AD2D58-EC85-4919-86F2-00E85F906876}"/>
                </a:ext>
              </a:extLst>
            </p:cNvPr>
            <p:cNvSpPr/>
            <p:nvPr userDrawn="1"/>
          </p:nvSpPr>
          <p:spPr bwMode="black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01CF21A7-4535-4C57-8143-169D224ADC39}"/>
                </a:ext>
              </a:extLst>
            </p:cNvPr>
            <p:cNvSpPr/>
            <p:nvPr userDrawn="1"/>
          </p:nvSpPr>
          <p:spPr bwMode="black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56F035C-8FDC-45CE-B5B8-F8B4F5ACBC79}"/>
                </a:ext>
              </a:extLst>
            </p:cNvPr>
            <p:cNvSpPr/>
            <p:nvPr userDrawn="1"/>
          </p:nvSpPr>
          <p:spPr bwMode="black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D9B234A6-826A-413C-B931-D919E52A0719}"/>
                </a:ext>
              </a:extLst>
            </p:cNvPr>
            <p:cNvSpPr/>
            <p:nvPr userDrawn="1"/>
          </p:nvSpPr>
          <p:spPr bwMode="black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048B2BB-6FFB-4D27-96C7-176E63508A2B}"/>
                </a:ext>
              </a:extLst>
            </p:cNvPr>
            <p:cNvSpPr/>
            <p:nvPr userDrawn="1"/>
          </p:nvSpPr>
          <p:spPr bwMode="black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0F26DA9-CE5E-4276-B142-51E0AFC8EFF3}"/>
                </a:ext>
              </a:extLst>
            </p:cNvPr>
            <p:cNvSpPr/>
            <p:nvPr userDrawn="1"/>
          </p:nvSpPr>
          <p:spPr bwMode="black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EC25358-B7B6-4891-97D2-1B131FD58253}"/>
                </a:ext>
              </a:extLst>
            </p:cNvPr>
            <p:cNvSpPr/>
            <p:nvPr userDrawn="1"/>
          </p:nvSpPr>
          <p:spPr bwMode="black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F1D4F54-A5B6-4B8F-BA1C-9796B50D71E8}"/>
                </a:ext>
              </a:extLst>
            </p:cNvPr>
            <p:cNvSpPr/>
            <p:nvPr userDrawn="1"/>
          </p:nvSpPr>
          <p:spPr bwMode="black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D3E1AF58-F8BD-4C35-B17B-FF474AC07207}"/>
                </a:ext>
              </a:extLst>
            </p:cNvPr>
            <p:cNvSpPr/>
            <p:nvPr userDrawn="1"/>
          </p:nvSpPr>
          <p:spPr bwMode="black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F433238B-4167-4B9F-AD00-573B9904B268}"/>
                </a:ext>
              </a:extLst>
            </p:cNvPr>
            <p:cNvCxnSpPr/>
            <p:nvPr userDrawn="1"/>
          </p:nvCxnSpPr>
          <p:spPr bwMode="black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E9255B43-A6C1-44E1-AD76-0108E14CF1CF}"/>
                </a:ext>
              </a:extLst>
            </p:cNvPr>
            <p:cNvCxnSpPr/>
            <p:nvPr userDrawn="1"/>
          </p:nvCxnSpPr>
          <p:spPr bwMode="black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86976117-4103-48D7-A1A4-7B1F6EB39AF8}"/>
                </a:ext>
              </a:extLst>
            </p:cNvPr>
            <p:cNvCxnSpPr/>
            <p:nvPr userDrawn="1"/>
          </p:nvCxnSpPr>
          <p:spPr bwMode="black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AD237E79-C954-4F5C-9467-568C2B01D61D}"/>
                </a:ext>
              </a:extLst>
            </p:cNvPr>
            <p:cNvCxnSpPr/>
            <p:nvPr userDrawn="1"/>
          </p:nvCxnSpPr>
          <p:spPr bwMode="black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2C3CA5D-4381-498F-A12A-94E2357D48D3}"/>
                </a:ext>
              </a:extLst>
            </p:cNvPr>
            <p:cNvCxnSpPr/>
            <p:nvPr userDrawn="1"/>
          </p:nvCxnSpPr>
          <p:spPr bwMode="black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CA4E24DD-F3D4-4376-8AB6-A07DA4314FF3}"/>
                </a:ext>
              </a:extLst>
            </p:cNvPr>
            <p:cNvCxnSpPr/>
            <p:nvPr userDrawn="1"/>
          </p:nvCxnSpPr>
          <p:spPr bwMode="black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D5DC4754-8578-491E-A0FF-64F47384863A}"/>
                </a:ext>
              </a:extLst>
            </p:cNvPr>
            <p:cNvCxnSpPr/>
            <p:nvPr userDrawn="1"/>
          </p:nvCxnSpPr>
          <p:spPr bwMode="black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984F9AF-FC24-4244-B2B7-556836286B42}"/>
                </a:ext>
              </a:extLst>
            </p:cNvPr>
            <p:cNvCxnSpPr/>
            <p:nvPr userDrawn="1"/>
          </p:nvCxnSpPr>
          <p:spPr bwMode="black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BE39F50-755A-4A28-9262-956D50B5BDF8}"/>
                </a:ext>
              </a:extLst>
            </p:cNvPr>
            <p:cNvCxnSpPr/>
            <p:nvPr userDrawn="1"/>
          </p:nvCxnSpPr>
          <p:spPr bwMode="black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CFFE806D-C6EC-4A6A-A604-0951250AC780}"/>
                </a:ext>
              </a:extLst>
            </p:cNvPr>
            <p:cNvCxnSpPr/>
            <p:nvPr userDrawn="1"/>
          </p:nvCxnSpPr>
          <p:spPr bwMode="black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584ED4C1-CE4B-4983-BA97-346408DC67CE}"/>
                </a:ext>
              </a:extLst>
            </p:cNvPr>
            <p:cNvCxnSpPr/>
            <p:nvPr userDrawn="1"/>
          </p:nvCxnSpPr>
          <p:spPr bwMode="black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C71EB62-716E-4C9B-AF43-BD800A252535}"/>
                </a:ext>
              </a:extLst>
            </p:cNvPr>
            <p:cNvCxnSpPr/>
            <p:nvPr userDrawn="1"/>
          </p:nvCxnSpPr>
          <p:spPr bwMode="black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9D29CB2-8929-4A25-98AF-2BEB838CFADE}"/>
                </a:ext>
              </a:extLst>
            </p:cNvPr>
            <p:cNvCxnSpPr/>
            <p:nvPr userDrawn="1"/>
          </p:nvCxnSpPr>
          <p:spPr bwMode="black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555DD7-8F54-4055-98D9-803ECA4B000E}"/>
                </a:ext>
              </a:extLst>
            </p:cNvPr>
            <p:cNvCxnSpPr/>
            <p:nvPr userDrawn="1"/>
          </p:nvCxnSpPr>
          <p:spPr bwMode="black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B2A8ED3D-1604-4356-8E79-C73DF5C07F87}"/>
                </a:ext>
              </a:extLst>
            </p:cNvPr>
            <p:cNvCxnSpPr/>
            <p:nvPr userDrawn="1"/>
          </p:nvCxnSpPr>
          <p:spPr bwMode="black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59B3DA24-D2F6-4B96-A966-7778F0462788}"/>
                </a:ext>
              </a:extLst>
            </p:cNvPr>
            <p:cNvCxnSpPr/>
            <p:nvPr userDrawn="1"/>
          </p:nvCxnSpPr>
          <p:spPr bwMode="black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5B2BC198-E061-43B5-8B72-9AECD4EF674C}"/>
                </a:ext>
              </a:extLst>
            </p:cNvPr>
            <p:cNvCxnSpPr/>
            <p:nvPr userDrawn="1"/>
          </p:nvCxnSpPr>
          <p:spPr bwMode="black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CBD1AA7-CC60-49B9-AAED-95002306B6DB}"/>
                </a:ext>
              </a:extLst>
            </p:cNvPr>
            <p:cNvCxnSpPr/>
            <p:nvPr userDrawn="1"/>
          </p:nvCxnSpPr>
          <p:spPr bwMode="black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6CFC690-A932-420E-8641-E0D4F1D14F71}"/>
                </a:ext>
              </a:extLst>
            </p:cNvPr>
            <p:cNvCxnSpPr/>
            <p:nvPr userDrawn="1"/>
          </p:nvCxnSpPr>
          <p:spPr bwMode="black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981262C0-EBF5-4D95-9E2E-78B7BE1D5F8F}"/>
                </a:ext>
              </a:extLst>
            </p:cNvPr>
            <p:cNvCxnSpPr/>
            <p:nvPr userDrawn="1"/>
          </p:nvCxnSpPr>
          <p:spPr bwMode="black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72412145-9F02-45F4-8A1F-4109B09DA77F}"/>
                </a:ext>
              </a:extLst>
            </p:cNvPr>
            <p:cNvCxnSpPr/>
            <p:nvPr userDrawn="1"/>
          </p:nvCxnSpPr>
          <p:spPr bwMode="black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4EFB458C-651C-47B0-830C-DFC18029EB15}"/>
                </a:ext>
              </a:extLst>
            </p:cNvPr>
            <p:cNvCxnSpPr/>
            <p:nvPr userDrawn="1"/>
          </p:nvCxnSpPr>
          <p:spPr bwMode="black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275A12CE-1B9C-467B-A41F-63B02D949AF6}"/>
                </a:ext>
              </a:extLst>
            </p:cNvPr>
            <p:cNvCxnSpPr/>
            <p:nvPr userDrawn="1"/>
          </p:nvCxnSpPr>
          <p:spPr bwMode="black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E166A7E-724C-41B9-B1E3-C18068EECF0D}"/>
                </a:ext>
              </a:extLst>
            </p:cNvPr>
            <p:cNvCxnSpPr/>
            <p:nvPr userDrawn="1"/>
          </p:nvCxnSpPr>
          <p:spPr bwMode="black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A628A8A-2AC5-47F3-84EC-7B44237EC8C4}"/>
                </a:ext>
              </a:extLst>
            </p:cNvPr>
            <p:cNvCxnSpPr/>
            <p:nvPr userDrawn="1"/>
          </p:nvCxnSpPr>
          <p:spPr bwMode="black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B89EEAE6-AB58-4DA0-97B7-5ED0B4FB66F7}"/>
                </a:ext>
              </a:extLst>
            </p:cNvPr>
            <p:cNvCxnSpPr/>
            <p:nvPr userDrawn="1"/>
          </p:nvCxnSpPr>
          <p:spPr bwMode="black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9973091C-4F57-45F5-9278-A5495574B244}"/>
                </a:ext>
              </a:extLst>
            </p:cNvPr>
            <p:cNvCxnSpPr/>
            <p:nvPr userDrawn="1"/>
          </p:nvCxnSpPr>
          <p:spPr bwMode="black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013782DF-D3CE-43BC-B089-7657B3CC9E4F}"/>
                </a:ext>
              </a:extLst>
            </p:cNvPr>
            <p:cNvCxnSpPr/>
            <p:nvPr userDrawn="1"/>
          </p:nvCxnSpPr>
          <p:spPr bwMode="black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40E03DB-D3B5-4ED2-94F1-18B05EF36E60}"/>
                </a:ext>
              </a:extLst>
            </p:cNvPr>
            <p:cNvCxnSpPr/>
            <p:nvPr userDrawn="1"/>
          </p:nvCxnSpPr>
          <p:spPr bwMode="black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283FFB0A-CBFF-4BBE-BC87-0A2AF4284576}"/>
                </a:ext>
              </a:extLst>
            </p:cNvPr>
            <p:cNvCxnSpPr/>
            <p:nvPr userDrawn="1"/>
          </p:nvCxnSpPr>
          <p:spPr bwMode="black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D5A634C-FA6D-4F49-AAD5-BBCE990D4748}"/>
                </a:ext>
              </a:extLst>
            </p:cNvPr>
            <p:cNvCxnSpPr/>
            <p:nvPr userDrawn="1"/>
          </p:nvCxnSpPr>
          <p:spPr bwMode="black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205ED71-0851-4E0C-A163-BC3D3039E671}"/>
                </a:ext>
              </a:extLst>
            </p:cNvPr>
            <p:cNvCxnSpPr/>
            <p:nvPr userDrawn="1"/>
          </p:nvCxnSpPr>
          <p:spPr bwMode="black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715526AD-CEE9-474C-A9A5-D49A5346A930}"/>
                </a:ext>
              </a:extLst>
            </p:cNvPr>
            <p:cNvCxnSpPr/>
            <p:nvPr userDrawn="1"/>
          </p:nvCxnSpPr>
          <p:spPr bwMode="black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7BD9B20-C7BC-413A-A578-C3FF8BEBBDC0}"/>
                </a:ext>
              </a:extLst>
            </p:cNvPr>
            <p:cNvCxnSpPr/>
            <p:nvPr userDrawn="1"/>
          </p:nvCxnSpPr>
          <p:spPr bwMode="black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A981CE9B-6327-4D32-B970-04D7EC41EE89}"/>
                </a:ext>
              </a:extLst>
            </p:cNvPr>
            <p:cNvCxnSpPr/>
            <p:nvPr userDrawn="1"/>
          </p:nvCxnSpPr>
          <p:spPr bwMode="black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E8F3FFC1-0364-4801-813A-54371A2C43DA}"/>
                </a:ext>
              </a:extLst>
            </p:cNvPr>
            <p:cNvCxnSpPr/>
            <p:nvPr userDrawn="1"/>
          </p:nvCxnSpPr>
          <p:spPr bwMode="black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5606A9C3-FEED-4F52-B442-5009E3F7B54C}"/>
                </a:ext>
              </a:extLst>
            </p:cNvPr>
            <p:cNvCxnSpPr/>
            <p:nvPr userDrawn="1"/>
          </p:nvCxnSpPr>
          <p:spPr bwMode="black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9DAE2C86-BAE6-47A1-94B1-327465587DE7}"/>
                </a:ext>
              </a:extLst>
            </p:cNvPr>
            <p:cNvCxnSpPr/>
            <p:nvPr userDrawn="1"/>
          </p:nvCxnSpPr>
          <p:spPr bwMode="black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9686103-ADA6-4E1A-817A-E71466AE209B}"/>
                </a:ext>
              </a:extLst>
            </p:cNvPr>
            <p:cNvCxnSpPr/>
            <p:nvPr userDrawn="1"/>
          </p:nvCxnSpPr>
          <p:spPr bwMode="black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BD273DE-C35C-4DA9-96B1-DDB7F800252C}"/>
                </a:ext>
              </a:extLst>
            </p:cNvPr>
            <p:cNvCxnSpPr/>
            <p:nvPr userDrawn="1"/>
          </p:nvCxnSpPr>
          <p:spPr bwMode="black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9A7DF1D-083E-42BB-91EA-4E30FEA625A2}"/>
                </a:ext>
              </a:extLst>
            </p:cNvPr>
            <p:cNvCxnSpPr/>
            <p:nvPr userDrawn="1"/>
          </p:nvCxnSpPr>
          <p:spPr bwMode="black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2D0D1604-79C2-46BE-9905-D864D0ECFE20}"/>
                </a:ext>
              </a:extLst>
            </p:cNvPr>
            <p:cNvCxnSpPr/>
            <p:nvPr userDrawn="1"/>
          </p:nvCxnSpPr>
          <p:spPr bwMode="black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B7B9FA60-E80E-4FE7-BB67-028805A248EE}"/>
                </a:ext>
              </a:extLst>
            </p:cNvPr>
            <p:cNvCxnSpPr/>
            <p:nvPr userDrawn="1"/>
          </p:nvCxnSpPr>
          <p:spPr bwMode="black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102F5688-0147-4CC6-8FB3-67034979720D}"/>
                </a:ext>
              </a:extLst>
            </p:cNvPr>
            <p:cNvCxnSpPr/>
            <p:nvPr userDrawn="1"/>
          </p:nvCxnSpPr>
          <p:spPr bwMode="black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main body box">
              <a:extLst>
                <a:ext uri="{FF2B5EF4-FFF2-40B4-BE49-F238E27FC236}">
                  <a16:creationId xmlns:a16="http://schemas.microsoft.com/office/drawing/2014/main" id="{3AB62359-B582-4196-8266-DC8ADBA988F4}"/>
                </a:ext>
              </a:extLst>
            </p:cNvPr>
            <p:cNvSpPr/>
            <p:nvPr userDrawn="1"/>
          </p:nvSpPr>
          <p:spPr bwMode="black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3D738849-8295-4057-B044-0B0E80C1C3DA}"/>
                </a:ext>
              </a:extLst>
            </p:cNvPr>
            <p:cNvCxnSpPr/>
            <p:nvPr userDrawn="1"/>
          </p:nvCxnSpPr>
          <p:spPr bwMode="black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81361245-226A-4BA1-8B7C-025011F07E2A}"/>
                </a:ext>
              </a:extLst>
            </p:cNvPr>
            <p:cNvCxnSpPr/>
            <p:nvPr userDrawn="1"/>
          </p:nvCxnSpPr>
          <p:spPr bwMode="black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3" name="Sticker" hidden="1">
            <a:extLst>
              <a:ext uri="{FF2B5EF4-FFF2-40B4-BE49-F238E27FC236}">
                <a16:creationId xmlns:a16="http://schemas.microsoft.com/office/drawing/2014/main" id="{F4B31D41-9E38-4C47-B14A-953F41CF2048}"/>
              </a:ext>
            </a:extLst>
          </p:cNvPr>
          <p:cNvSpPr txBox="1"/>
          <p:nvPr userDrawn="1"/>
        </p:nvSpPr>
        <p:spPr>
          <a:xfrm>
            <a:off x="416052" y="834828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55" name="ACET" hidden="1">
            <a:extLst>
              <a:ext uri="{FF2B5EF4-FFF2-40B4-BE49-F238E27FC236}">
                <a16:creationId xmlns:a16="http://schemas.microsoft.com/office/drawing/2014/main" id="{6FC9F96D-D74F-4064-BE66-104F69CCE92E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415925" y="2133599"/>
            <a:ext cx="3049253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400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2155825"/>
            <a:ext cx="2168863" cy="143372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2" name="LegendBoxes" hidden="1">
            <a:extLst>
              <a:ext uri="{FF2B5EF4-FFF2-40B4-BE49-F238E27FC236}">
                <a16:creationId xmlns:a16="http://schemas.microsoft.com/office/drawing/2014/main" id="{963CCBC6-05DA-41C5-8A26-02B4B8294556}"/>
              </a:ext>
            </a:extLst>
          </p:cNvPr>
          <p:cNvGrpSpPr/>
          <p:nvPr userDrawn="1"/>
        </p:nvGrpSpPr>
        <p:grpSpPr>
          <a:xfrm>
            <a:off x="7892047" y="4396889"/>
            <a:ext cx="835901" cy="1686504"/>
            <a:chOff x="7756825" y="4379430"/>
            <a:chExt cx="835901" cy="1686504"/>
          </a:xfrm>
        </p:grpSpPr>
        <p:sp>
          <p:nvSpPr>
            <p:cNvPr id="153" name="RectangleLegend1">
              <a:extLst>
                <a:ext uri="{FF2B5EF4-FFF2-40B4-BE49-F238E27FC236}">
                  <a16:creationId xmlns:a16="http://schemas.microsoft.com/office/drawing/2014/main" id="{658AC4E5-B9F1-4DD2-A80F-DAC539F6EDF1}"/>
                </a:ext>
              </a:extLst>
            </p:cNvPr>
            <p:cNvSpPr/>
            <p:nvPr/>
          </p:nvSpPr>
          <p:spPr>
            <a:xfrm>
              <a:off x="7756825" y="4385399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54" name="RectangleLegend2">
              <a:extLst>
                <a:ext uri="{FF2B5EF4-FFF2-40B4-BE49-F238E27FC236}">
                  <a16:creationId xmlns:a16="http://schemas.microsoft.com/office/drawing/2014/main" id="{B2384542-8C23-4E14-80D2-CA9F267323F0}"/>
                </a:ext>
              </a:extLst>
            </p:cNvPr>
            <p:cNvSpPr/>
            <p:nvPr/>
          </p:nvSpPr>
          <p:spPr>
            <a:xfrm>
              <a:off x="7756825" y="4764897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tangleLegend3">
              <a:extLst>
                <a:ext uri="{FF2B5EF4-FFF2-40B4-BE49-F238E27FC236}">
                  <a16:creationId xmlns:a16="http://schemas.microsoft.com/office/drawing/2014/main" id="{060EF611-D1B1-4A78-8D88-DC9E2B83640A}"/>
                </a:ext>
              </a:extLst>
            </p:cNvPr>
            <p:cNvSpPr/>
            <p:nvPr/>
          </p:nvSpPr>
          <p:spPr>
            <a:xfrm>
              <a:off x="7756825" y="5138493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5" name="RectangleLegend4">
              <a:extLst>
                <a:ext uri="{FF2B5EF4-FFF2-40B4-BE49-F238E27FC236}">
                  <a16:creationId xmlns:a16="http://schemas.microsoft.com/office/drawing/2014/main" id="{E1613226-3F7F-4C55-A6C0-DD8251B844E6}"/>
                </a:ext>
              </a:extLst>
            </p:cNvPr>
            <p:cNvSpPr/>
            <p:nvPr/>
          </p:nvSpPr>
          <p:spPr>
            <a:xfrm>
              <a:off x="7756825" y="5512089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tangleLegend5">
              <a:extLst>
                <a:ext uri="{FF2B5EF4-FFF2-40B4-BE49-F238E27FC236}">
                  <a16:creationId xmlns:a16="http://schemas.microsoft.com/office/drawing/2014/main" id="{5BE928B1-5A9D-43CB-BC80-2D1F93CC2F3C}"/>
                </a:ext>
              </a:extLst>
            </p:cNvPr>
            <p:cNvSpPr/>
            <p:nvPr/>
          </p:nvSpPr>
          <p:spPr>
            <a:xfrm>
              <a:off x="7756825" y="5885685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7" name="Legend1">
              <a:extLst>
                <a:ext uri="{FF2B5EF4-FFF2-40B4-BE49-F238E27FC236}">
                  <a16:creationId xmlns:a16="http://schemas.microsoft.com/office/drawing/2014/main" id="{588189A8-DB4B-43BF-B593-04C5DB541C53}"/>
                </a:ext>
              </a:extLst>
            </p:cNvPr>
            <p:cNvSpPr txBox="1"/>
            <p:nvPr/>
          </p:nvSpPr>
          <p:spPr>
            <a:xfrm>
              <a:off x="8082971" y="4379430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8" name="Legend2">
              <a:extLst>
                <a:ext uri="{FF2B5EF4-FFF2-40B4-BE49-F238E27FC236}">
                  <a16:creationId xmlns:a16="http://schemas.microsoft.com/office/drawing/2014/main" id="{BFD93A1F-3913-44CB-80B7-EFCD2B4BF5BC}"/>
                </a:ext>
              </a:extLst>
            </p:cNvPr>
            <p:cNvSpPr txBox="1"/>
            <p:nvPr/>
          </p:nvSpPr>
          <p:spPr>
            <a:xfrm>
              <a:off x="8082971" y="4758928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9" name="Legend3">
              <a:extLst>
                <a:ext uri="{FF2B5EF4-FFF2-40B4-BE49-F238E27FC236}">
                  <a16:creationId xmlns:a16="http://schemas.microsoft.com/office/drawing/2014/main" id="{F7B1D1E0-C2A5-481C-8640-41B469498D8D}"/>
                </a:ext>
              </a:extLst>
            </p:cNvPr>
            <p:cNvSpPr txBox="1"/>
            <p:nvPr/>
          </p:nvSpPr>
          <p:spPr>
            <a:xfrm>
              <a:off x="8082971" y="5138426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0" name="Legend4">
              <a:extLst>
                <a:ext uri="{FF2B5EF4-FFF2-40B4-BE49-F238E27FC236}">
                  <a16:creationId xmlns:a16="http://schemas.microsoft.com/office/drawing/2014/main" id="{C8DA0D60-61E4-4C36-A081-C71B9380B540}"/>
                </a:ext>
              </a:extLst>
            </p:cNvPr>
            <p:cNvSpPr txBox="1"/>
            <p:nvPr/>
          </p:nvSpPr>
          <p:spPr>
            <a:xfrm>
              <a:off x="8082971" y="5509847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1" name="Legend5">
              <a:extLst>
                <a:ext uri="{FF2B5EF4-FFF2-40B4-BE49-F238E27FC236}">
                  <a16:creationId xmlns:a16="http://schemas.microsoft.com/office/drawing/2014/main" id="{0642CA01-EC45-4B1C-8CC1-746C78F308A5}"/>
                </a:ext>
              </a:extLst>
            </p:cNvPr>
            <p:cNvSpPr txBox="1"/>
            <p:nvPr/>
          </p:nvSpPr>
          <p:spPr>
            <a:xfrm>
              <a:off x="8082970" y="5881268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</p:grpSp>
      <p:grpSp>
        <p:nvGrpSpPr>
          <p:cNvPr id="172" name="LegendLines" hidden="1">
            <a:extLst>
              <a:ext uri="{FF2B5EF4-FFF2-40B4-BE49-F238E27FC236}">
                <a16:creationId xmlns:a16="http://schemas.microsoft.com/office/drawing/2014/main" id="{F23A354F-6D61-4076-98CC-072D54F2B9B5}"/>
              </a:ext>
            </a:extLst>
          </p:cNvPr>
          <p:cNvGrpSpPr/>
          <p:nvPr userDrawn="1"/>
        </p:nvGrpSpPr>
        <p:grpSpPr>
          <a:xfrm>
            <a:off x="7601970" y="3237562"/>
            <a:ext cx="1125978" cy="927508"/>
            <a:chOff x="7495285" y="2250552"/>
            <a:chExt cx="1125978" cy="927508"/>
          </a:xfrm>
        </p:grpSpPr>
        <p:sp>
          <p:nvSpPr>
            <p:cNvPr id="173" name="Legend1">
              <a:extLst>
                <a:ext uri="{FF2B5EF4-FFF2-40B4-BE49-F238E27FC236}">
                  <a16:creationId xmlns:a16="http://schemas.microsoft.com/office/drawing/2014/main" id="{10E606C6-97CA-4FF0-A153-84CA4E8F414F}"/>
                </a:ext>
              </a:extLst>
            </p:cNvPr>
            <p:cNvSpPr txBox="1"/>
            <p:nvPr/>
          </p:nvSpPr>
          <p:spPr>
            <a:xfrm>
              <a:off x="8111508" y="2250552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4" name="Legend2">
              <a:extLst>
                <a:ext uri="{FF2B5EF4-FFF2-40B4-BE49-F238E27FC236}">
                  <a16:creationId xmlns:a16="http://schemas.microsoft.com/office/drawing/2014/main" id="{5F43CABA-AFC6-491E-A7D7-B466654F525D}"/>
                </a:ext>
              </a:extLst>
            </p:cNvPr>
            <p:cNvSpPr txBox="1"/>
            <p:nvPr/>
          </p:nvSpPr>
          <p:spPr>
            <a:xfrm>
              <a:off x="8111508" y="262197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5" name="Legend3">
              <a:extLst>
                <a:ext uri="{FF2B5EF4-FFF2-40B4-BE49-F238E27FC236}">
                  <a16:creationId xmlns:a16="http://schemas.microsoft.com/office/drawing/2014/main" id="{DA7660EB-4D51-4982-8372-6E58C50CDE5E}"/>
                </a:ext>
              </a:extLst>
            </p:cNvPr>
            <p:cNvSpPr txBox="1"/>
            <p:nvPr/>
          </p:nvSpPr>
          <p:spPr>
            <a:xfrm>
              <a:off x="8111508" y="2993394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6" name="LineLegend3">
              <a:extLst>
                <a:ext uri="{FF2B5EF4-FFF2-40B4-BE49-F238E27FC236}">
                  <a16:creationId xmlns:a16="http://schemas.microsoft.com/office/drawing/2014/main" id="{966C354A-0204-46EB-8E36-0146C3FD31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3084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7" name="LineLegend2">
              <a:extLst>
                <a:ext uri="{FF2B5EF4-FFF2-40B4-BE49-F238E27FC236}">
                  <a16:creationId xmlns:a16="http://schemas.microsoft.com/office/drawing/2014/main" id="{B87C293D-A7CD-4508-B0B1-2017113A58A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710816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8" name="LineLegend1">
              <a:extLst>
                <a:ext uri="{FF2B5EF4-FFF2-40B4-BE49-F238E27FC236}">
                  <a16:creationId xmlns:a16="http://schemas.microsoft.com/office/drawing/2014/main" id="{4456FE58-0255-4DBB-92A8-6CC5F84B71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34288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</p:grpSp>
      <p:grpSp>
        <p:nvGrpSpPr>
          <p:cNvPr id="179" name="LegendMoons" hidden="1">
            <a:extLst>
              <a:ext uri="{FF2B5EF4-FFF2-40B4-BE49-F238E27FC236}">
                <a16:creationId xmlns:a16="http://schemas.microsoft.com/office/drawing/2014/main" id="{70A0319B-8EBB-4F65-9A96-1B1BB35625B1}"/>
              </a:ext>
            </a:extLst>
          </p:cNvPr>
          <p:cNvGrpSpPr/>
          <p:nvPr userDrawn="1"/>
        </p:nvGrpSpPr>
        <p:grpSpPr>
          <a:xfrm>
            <a:off x="7865561" y="1289273"/>
            <a:ext cx="862387" cy="1731859"/>
            <a:chOff x="7723680" y="1702457"/>
            <a:chExt cx="862387" cy="1731859"/>
          </a:xfrm>
        </p:grpSpPr>
        <p:sp>
          <p:nvSpPr>
            <p:cNvPr id="201" name="Legend1">
              <a:extLst>
                <a:ext uri="{FF2B5EF4-FFF2-40B4-BE49-F238E27FC236}">
                  <a16:creationId xmlns:a16="http://schemas.microsoft.com/office/drawing/2014/main" id="{49BB8121-D802-4602-ABD0-B61681B018F3}"/>
                </a:ext>
              </a:extLst>
            </p:cNvPr>
            <p:cNvSpPr txBox="1"/>
            <p:nvPr/>
          </p:nvSpPr>
          <p:spPr>
            <a:xfrm>
              <a:off x="8076312" y="1725205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2" name="Legend2">
              <a:extLst>
                <a:ext uri="{FF2B5EF4-FFF2-40B4-BE49-F238E27FC236}">
                  <a16:creationId xmlns:a16="http://schemas.microsoft.com/office/drawing/2014/main" id="{5EBAE2BA-95BE-43BE-ADD2-84B42D0356EE}"/>
                </a:ext>
              </a:extLst>
            </p:cNvPr>
            <p:cNvSpPr txBox="1"/>
            <p:nvPr/>
          </p:nvSpPr>
          <p:spPr>
            <a:xfrm>
              <a:off x="8076312" y="2100664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3" name="Legend3">
              <a:extLst>
                <a:ext uri="{FF2B5EF4-FFF2-40B4-BE49-F238E27FC236}">
                  <a16:creationId xmlns:a16="http://schemas.microsoft.com/office/drawing/2014/main" id="{F96B8EA8-EAE8-4395-BA9F-6F1303EA348F}"/>
                </a:ext>
              </a:extLst>
            </p:cNvPr>
            <p:cNvSpPr txBox="1"/>
            <p:nvPr/>
          </p:nvSpPr>
          <p:spPr>
            <a:xfrm>
              <a:off x="8076312" y="247612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4" name="Legend4">
              <a:extLst>
                <a:ext uri="{FF2B5EF4-FFF2-40B4-BE49-F238E27FC236}">
                  <a16:creationId xmlns:a16="http://schemas.microsoft.com/office/drawing/2014/main" id="{BE4110F2-0F5F-4468-93FA-59E84FEB9E4A}"/>
                </a:ext>
              </a:extLst>
            </p:cNvPr>
            <p:cNvSpPr txBox="1"/>
            <p:nvPr/>
          </p:nvSpPr>
          <p:spPr>
            <a:xfrm>
              <a:off x="8076312" y="2851582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5" name="Legend5">
              <a:extLst>
                <a:ext uri="{FF2B5EF4-FFF2-40B4-BE49-F238E27FC236}">
                  <a16:creationId xmlns:a16="http://schemas.microsoft.com/office/drawing/2014/main" id="{E16B28D1-13B2-4F91-8123-CC4749412D3B}"/>
                </a:ext>
              </a:extLst>
            </p:cNvPr>
            <p:cNvSpPr txBox="1"/>
            <p:nvPr/>
          </p:nvSpPr>
          <p:spPr>
            <a:xfrm>
              <a:off x="8076312" y="322704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grpSp>
          <p:nvGrpSpPr>
            <p:cNvPr id="206" name="MoonLegend1">
              <a:extLst>
                <a:ext uri="{FF2B5EF4-FFF2-40B4-BE49-F238E27FC236}">
                  <a16:creationId xmlns:a16="http://schemas.microsoft.com/office/drawing/2014/main" id="{A16FD1F9-C160-4C4C-BAF6-716DDB869224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5282EEB0-B664-439C-B943-F7BB43CCAC05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68D40D9B-9DF0-4077-8151-E93B0977AD0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7" name="MoonLegend2">
              <a:extLst>
                <a:ext uri="{FF2B5EF4-FFF2-40B4-BE49-F238E27FC236}">
                  <a16:creationId xmlns:a16="http://schemas.microsoft.com/office/drawing/2014/main" id="{F9F241E8-6251-451F-9BE9-2C8D83F44D6B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578B0A0D-F30C-40C1-A9C4-EB63E6138F46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87395151-2586-43D8-B836-6324CB407891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8" name="MoonLegend3">
              <a:extLst>
                <a:ext uri="{FF2B5EF4-FFF2-40B4-BE49-F238E27FC236}">
                  <a16:creationId xmlns:a16="http://schemas.microsoft.com/office/drawing/2014/main" id="{B66D3648-DE5A-4E5C-8578-141D178A4ADB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D2DC89B-E4DB-4EBC-B12A-607EB3C23DE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50301F1B-4914-4337-B892-733925FD1C5A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9" name="MoonLegend4">
              <a:extLst>
                <a:ext uri="{FF2B5EF4-FFF2-40B4-BE49-F238E27FC236}">
                  <a16:creationId xmlns:a16="http://schemas.microsoft.com/office/drawing/2014/main" id="{69C2ABAA-7291-4A19-A40B-3990AB445B9A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B9D4D141-7E0B-42D0-994A-D8212F69EE2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>
                <a:extLst>
                  <a:ext uri="{FF2B5EF4-FFF2-40B4-BE49-F238E27FC236}">
                    <a16:creationId xmlns:a16="http://schemas.microsoft.com/office/drawing/2014/main" id="{397EC893-9249-44CD-982F-F7F0B99DFCA8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10" name="MoonLegend5">
              <a:extLst>
                <a:ext uri="{FF2B5EF4-FFF2-40B4-BE49-F238E27FC236}">
                  <a16:creationId xmlns:a16="http://schemas.microsoft.com/office/drawing/2014/main" id="{CDCE6D47-F48F-4497-BD5A-E92F724CEE3D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E8E291C3-4BCA-406E-8B9A-6A354B83EF5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>
                <a:extLst>
                  <a:ext uri="{FF2B5EF4-FFF2-40B4-BE49-F238E27FC236}">
                    <a16:creationId xmlns:a16="http://schemas.microsoft.com/office/drawing/2014/main" id="{4C9C4DC9-D1E5-45F3-943E-09B75E72EE8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</p:grpSp>
      <p:sp>
        <p:nvSpPr>
          <p:cNvPr id="141" name="Documenttype">
            <a:extLst>
              <a:ext uri="{FF2B5EF4-FFF2-40B4-BE49-F238E27FC236}">
                <a16:creationId xmlns:a16="http://schemas.microsoft.com/office/drawing/2014/main" id="{29A17418-B99F-4330-B927-CCF962E4661F}"/>
              </a:ext>
            </a:extLst>
          </p:cNvPr>
          <p:cNvSpPr txBox="1">
            <a:spLocks/>
          </p:cNvSpPr>
          <p:nvPr userDrawn="1">
            <p:custDataLst>
              <p:tags r:id="rId27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58FB3693-AC27-4699-841D-4547D247D81A}"/>
              </a:ext>
            </a:extLst>
          </p:cNvPr>
          <p:cNvSpPr txBox="1"/>
          <p:nvPr userDrawn="1"/>
        </p:nvSpPr>
        <p:spPr>
          <a:xfrm>
            <a:off x="7271296" y="6570762"/>
            <a:ext cx="65" cy="15388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05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0" r:id="rId14"/>
    <p:sldLayoutId id="2147483921" r:id="rId15"/>
    <p:sldLayoutId id="2147483922" r:id="rId16"/>
    <p:sldLayoutId id="2147483924" r:id="rId17"/>
    <p:sldLayoutId id="2147483925" r:id="rId18"/>
  </p:sldLayoutIdLst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lang="en-US" sz="22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5497">
          <p15:clr>
            <a:srgbClr val="F26B43"/>
          </p15:clr>
        </p15:guide>
        <p15:guide id="6" pos="259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8963AA3D-EFA3-4938-9D41-C8DDC03F7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59" name="think-cell Slide" r:id="rId38" imgW="572" imgH="588" progId="TCLayout.ActiveDocument.1">
                  <p:embed/>
                </p:oleObj>
              </mc:Choice>
              <mc:Fallback>
                <p:oleObj name="think-cell Slide" r:id="rId38" imgW="572" imgH="58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8963AA3D-EFA3-4938-9D41-C8DDC03F7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 hidden="1">
            <a:extLst>
              <a:ext uri="{FF2B5EF4-FFF2-40B4-BE49-F238E27FC236}">
                <a16:creationId xmlns:a16="http://schemas.microsoft.com/office/drawing/2014/main" id="{C4A855FC-965A-4859-83A9-629E80C693BF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2" name="4. Footnote" hidden="1">
            <a:extLst>
              <a:ext uri="{FF2B5EF4-FFF2-40B4-BE49-F238E27FC236}">
                <a16:creationId xmlns:a16="http://schemas.microsoft.com/office/drawing/2014/main" id="{06E07A66-B8BA-42E8-A0F6-6B0251CAA48E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1480" y="6274554"/>
            <a:ext cx="831189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BAD3E984-2EF2-43CD-BB0E-16A737B99040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416052" y="173736"/>
            <a:ext cx="8311896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3" name="Grid" hidden="1">
            <a:extLst>
              <a:ext uri="{FF2B5EF4-FFF2-40B4-BE49-F238E27FC236}">
                <a16:creationId xmlns:a16="http://schemas.microsoft.com/office/drawing/2014/main" id="{564EB9F6-AC04-42ED-9CB6-6D01335D9982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 bwMode="blackGray">
          <a:xfrm>
            <a:off x="1" y="0"/>
            <a:ext cx="9142857" cy="6858000"/>
            <a:chOff x="0" y="0"/>
            <a:chExt cx="12190476" cy="6858000"/>
          </a:xfrm>
        </p:grpSpPr>
        <p:sp>
          <p:nvSpPr>
            <p:cNvPr id="55" name="slide margin">
              <a:extLst>
                <a:ext uri="{FF2B5EF4-FFF2-40B4-BE49-F238E27FC236}">
                  <a16:creationId xmlns:a16="http://schemas.microsoft.com/office/drawing/2014/main" id="{F5DBB269-56D9-4200-9112-12E14BA26FC3}"/>
                </a:ext>
              </a:extLst>
            </p:cNvPr>
            <p:cNvSpPr/>
            <p:nvPr/>
          </p:nvSpPr>
          <p:spPr bwMode="black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7A4F8EE-DD16-44D6-8659-4BC61E1C4968}"/>
                </a:ext>
              </a:extLst>
            </p:cNvPr>
            <p:cNvCxnSpPr/>
            <p:nvPr/>
          </p:nvCxnSpPr>
          <p:spPr bwMode="black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A20FAAC0-CCE6-4BC5-A835-E805E4CFE84B}"/>
                </a:ext>
              </a:extLst>
            </p:cNvPr>
            <p:cNvCxnSpPr/>
            <p:nvPr/>
          </p:nvCxnSpPr>
          <p:spPr bwMode="black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CE62967-F8DD-442A-A2C7-5EC8AB9FE8CE}"/>
                </a:ext>
              </a:extLst>
            </p:cNvPr>
            <p:cNvCxnSpPr/>
            <p:nvPr/>
          </p:nvCxnSpPr>
          <p:spPr bwMode="black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D8E0C4-F713-47B9-9258-FCC3EF4AC2D3}"/>
                </a:ext>
              </a:extLst>
            </p:cNvPr>
            <p:cNvCxnSpPr/>
            <p:nvPr/>
          </p:nvCxnSpPr>
          <p:spPr bwMode="black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9209D019-80C7-44F7-B340-FDC6CF76FDFE}"/>
                </a:ext>
              </a:extLst>
            </p:cNvPr>
            <p:cNvCxnSpPr/>
            <p:nvPr/>
          </p:nvCxnSpPr>
          <p:spPr bwMode="black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B6FCE71-887F-4F0B-ACCD-6CFCD13E12A8}"/>
                </a:ext>
              </a:extLst>
            </p:cNvPr>
            <p:cNvCxnSpPr/>
            <p:nvPr/>
          </p:nvCxnSpPr>
          <p:spPr bwMode="black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25852E5-79E9-4D30-89F2-E8E3C7A8A8D3}"/>
                </a:ext>
              </a:extLst>
            </p:cNvPr>
            <p:cNvCxnSpPr/>
            <p:nvPr/>
          </p:nvCxnSpPr>
          <p:spPr bwMode="black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1894E67-6006-4C83-BBB3-824E5C6CAE33}"/>
                </a:ext>
              </a:extLst>
            </p:cNvPr>
            <p:cNvCxnSpPr/>
            <p:nvPr/>
          </p:nvCxnSpPr>
          <p:spPr bwMode="black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8B05A6-707C-49A0-B29E-A54224F6D77E}"/>
                </a:ext>
              </a:extLst>
            </p:cNvPr>
            <p:cNvCxnSpPr/>
            <p:nvPr/>
          </p:nvCxnSpPr>
          <p:spPr bwMode="black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6D036E9-E68E-45AC-88B1-3889BA9AC140}"/>
                </a:ext>
              </a:extLst>
            </p:cNvPr>
            <p:cNvCxnSpPr/>
            <p:nvPr/>
          </p:nvCxnSpPr>
          <p:spPr bwMode="black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228A5C01-418B-415F-ACE4-12657A25C674}"/>
                </a:ext>
              </a:extLst>
            </p:cNvPr>
            <p:cNvCxnSpPr/>
            <p:nvPr/>
          </p:nvCxnSpPr>
          <p:spPr bwMode="black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CD3EFBD-902E-4760-89FE-386EC5FAB5DD}"/>
                </a:ext>
              </a:extLst>
            </p:cNvPr>
            <p:cNvCxnSpPr/>
            <p:nvPr/>
          </p:nvCxnSpPr>
          <p:spPr bwMode="black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6E80E37-4393-4509-A7F8-81796082DBE6}"/>
                </a:ext>
              </a:extLst>
            </p:cNvPr>
            <p:cNvSpPr/>
            <p:nvPr/>
          </p:nvSpPr>
          <p:spPr bwMode="black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8B6547D-77F2-421A-BE02-C2FE626088A2}"/>
                </a:ext>
              </a:extLst>
            </p:cNvPr>
            <p:cNvSpPr/>
            <p:nvPr/>
          </p:nvSpPr>
          <p:spPr bwMode="black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3092C087-1CB5-40EB-AAE7-4F62179E5B3D}"/>
                </a:ext>
              </a:extLst>
            </p:cNvPr>
            <p:cNvSpPr/>
            <p:nvPr/>
          </p:nvSpPr>
          <p:spPr bwMode="black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70C581B-2D28-48E7-9BF1-F773AD6A082F}"/>
                </a:ext>
              </a:extLst>
            </p:cNvPr>
            <p:cNvSpPr/>
            <p:nvPr/>
          </p:nvSpPr>
          <p:spPr bwMode="black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05DE51E3-D897-4994-9418-E8C2DE782A3A}"/>
                </a:ext>
              </a:extLst>
            </p:cNvPr>
            <p:cNvSpPr/>
            <p:nvPr/>
          </p:nvSpPr>
          <p:spPr bwMode="black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D9B6F9F-FA16-4594-8B72-43FF5F17F7FC}"/>
                </a:ext>
              </a:extLst>
            </p:cNvPr>
            <p:cNvSpPr/>
            <p:nvPr/>
          </p:nvSpPr>
          <p:spPr bwMode="black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21EA58F-1F84-493C-ACF6-F9FACAF48256}"/>
                </a:ext>
              </a:extLst>
            </p:cNvPr>
            <p:cNvSpPr/>
            <p:nvPr/>
          </p:nvSpPr>
          <p:spPr bwMode="black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08E60CB-D491-446F-999C-C54AA89B3EC2}"/>
                </a:ext>
              </a:extLst>
            </p:cNvPr>
            <p:cNvSpPr/>
            <p:nvPr/>
          </p:nvSpPr>
          <p:spPr bwMode="black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A798CCB-595D-477E-BB68-277026AE1F58}"/>
                </a:ext>
              </a:extLst>
            </p:cNvPr>
            <p:cNvSpPr/>
            <p:nvPr/>
          </p:nvSpPr>
          <p:spPr bwMode="black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DE4A3B3-1B25-4F73-AFB0-BC5117472C58}"/>
                </a:ext>
              </a:extLst>
            </p:cNvPr>
            <p:cNvSpPr/>
            <p:nvPr/>
          </p:nvSpPr>
          <p:spPr bwMode="black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B244C56-8768-49BE-9C5F-39DC27091866}"/>
                </a:ext>
              </a:extLst>
            </p:cNvPr>
            <p:cNvSpPr/>
            <p:nvPr/>
          </p:nvSpPr>
          <p:spPr bwMode="black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FF016B4B-663C-4A99-BA16-526587A98E3A}"/>
                </a:ext>
              </a:extLst>
            </p:cNvPr>
            <p:cNvSpPr/>
            <p:nvPr/>
          </p:nvSpPr>
          <p:spPr bwMode="black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0EE0782-4BFF-4C76-83A4-65CB2A78CF86}"/>
                </a:ext>
              </a:extLst>
            </p:cNvPr>
            <p:cNvSpPr/>
            <p:nvPr/>
          </p:nvSpPr>
          <p:spPr bwMode="black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922C003-5270-4D9A-ADCB-FBD0BCF17B75}"/>
                </a:ext>
              </a:extLst>
            </p:cNvPr>
            <p:cNvSpPr/>
            <p:nvPr/>
          </p:nvSpPr>
          <p:spPr bwMode="black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D711215-3D48-4B08-99DB-BE3939FDAC79}"/>
                </a:ext>
              </a:extLst>
            </p:cNvPr>
            <p:cNvSpPr/>
            <p:nvPr userDrawn="1"/>
          </p:nvSpPr>
          <p:spPr bwMode="black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DDFDFFA-F184-43C9-870C-DCF3B877593B}"/>
                </a:ext>
              </a:extLst>
            </p:cNvPr>
            <p:cNvSpPr/>
            <p:nvPr userDrawn="1"/>
          </p:nvSpPr>
          <p:spPr bwMode="black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7AD2D58-EC85-4919-86F2-00E85F906876}"/>
                </a:ext>
              </a:extLst>
            </p:cNvPr>
            <p:cNvSpPr/>
            <p:nvPr userDrawn="1"/>
          </p:nvSpPr>
          <p:spPr bwMode="black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01CF21A7-4535-4C57-8143-169D224ADC39}"/>
                </a:ext>
              </a:extLst>
            </p:cNvPr>
            <p:cNvSpPr/>
            <p:nvPr userDrawn="1"/>
          </p:nvSpPr>
          <p:spPr bwMode="black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56F035C-8FDC-45CE-B5B8-F8B4F5ACBC79}"/>
                </a:ext>
              </a:extLst>
            </p:cNvPr>
            <p:cNvSpPr/>
            <p:nvPr userDrawn="1"/>
          </p:nvSpPr>
          <p:spPr bwMode="black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D9B234A6-826A-413C-B931-D919E52A0719}"/>
                </a:ext>
              </a:extLst>
            </p:cNvPr>
            <p:cNvSpPr/>
            <p:nvPr userDrawn="1"/>
          </p:nvSpPr>
          <p:spPr bwMode="black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048B2BB-6FFB-4D27-96C7-176E63508A2B}"/>
                </a:ext>
              </a:extLst>
            </p:cNvPr>
            <p:cNvSpPr/>
            <p:nvPr userDrawn="1"/>
          </p:nvSpPr>
          <p:spPr bwMode="black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0F26DA9-CE5E-4276-B142-51E0AFC8EFF3}"/>
                </a:ext>
              </a:extLst>
            </p:cNvPr>
            <p:cNvSpPr/>
            <p:nvPr userDrawn="1"/>
          </p:nvSpPr>
          <p:spPr bwMode="black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EC25358-B7B6-4891-97D2-1B131FD58253}"/>
                </a:ext>
              </a:extLst>
            </p:cNvPr>
            <p:cNvSpPr/>
            <p:nvPr userDrawn="1"/>
          </p:nvSpPr>
          <p:spPr bwMode="black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F1D4F54-A5B6-4B8F-BA1C-9796B50D71E8}"/>
                </a:ext>
              </a:extLst>
            </p:cNvPr>
            <p:cNvSpPr/>
            <p:nvPr userDrawn="1"/>
          </p:nvSpPr>
          <p:spPr bwMode="black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D3E1AF58-F8BD-4C35-B17B-FF474AC07207}"/>
                </a:ext>
              </a:extLst>
            </p:cNvPr>
            <p:cNvSpPr/>
            <p:nvPr userDrawn="1"/>
          </p:nvSpPr>
          <p:spPr bwMode="black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F433238B-4167-4B9F-AD00-573B9904B268}"/>
                </a:ext>
              </a:extLst>
            </p:cNvPr>
            <p:cNvCxnSpPr/>
            <p:nvPr userDrawn="1"/>
          </p:nvCxnSpPr>
          <p:spPr bwMode="black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E9255B43-A6C1-44E1-AD76-0108E14CF1CF}"/>
                </a:ext>
              </a:extLst>
            </p:cNvPr>
            <p:cNvCxnSpPr/>
            <p:nvPr userDrawn="1"/>
          </p:nvCxnSpPr>
          <p:spPr bwMode="black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86976117-4103-48D7-A1A4-7B1F6EB39AF8}"/>
                </a:ext>
              </a:extLst>
            </p:cNvPr>
            <p:cNvCxnSpPr/>
            <p:nvPr userDrawn="1"/>
          </p:nvCxnSpPr>
          <p:spPr bwMode="black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AD237E79-C954-4F5C-9467-568C2B01D61D}"/>
                </a:ext>
              </a:extLst>
            </p:cNvPr>
            <p:cNvCxnSpPr/>
            <p:nvPr userDrawn="1"/>
          </p:nvCxnSpPr>
          <p:spPr bwMode="black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2C3CA5D-4381-498F-A12A-94E2357D48D3}"/>
                </a:ext>
              </a:extLst>
            </p:cNvPr>
            <p:cNvCxnSpPr/>
            <p:nvPr userDrawn="1"/>
          </p:nvCxnSpPr>
          <p:spPr bwMode="black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CA4E24DD-F3D4-4376-8AB6-A07DA4314FF3}"/>
                </a:ext>
              </a:extLst>
            </p:cNvPr>
            <p:cNvCxnSpPr/>
            <p:nvPr userDrawn="1"/>
          </p:nvCxnSpPr>
          <p:spPr bwMode="black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D5DC4754-8578-491E-A0FF-64F47384863A}"/>
                </a:ext>
              </a:extLst>
            </p:cNvPr>
            <p:cNvCxnSpPr/>
            <p:nvPr userDrawn="1"/>
          </p:nvCxnSpPr>
          <p:spPr bwMode="black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984F9AF-FC24-4244-B2B7-556836286B42}"/>
                </a:ext>
              </a:extLst>
            </p:cNvPr>
            <p:cNvCxnSpPr/>
            <p:nvPr userDrawn="1"/>
          </p:nvCxnSpPr>
          <p:spPr bwMode="black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BE39F50-755A-4A28-9262-956D50B5BDF8}"/>
                </a:ext>
              </a:extLst>
            </p:cNvPr>
            <p:cNvCxnSpPr/>
            <p:nvPr userDrawn="1"/>
          </p:nvCxnSpPr>
          <p:spPr bwMode="black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CFFE806D-C6EC-4A6A-A604-0951250AC780}"/>
                </a:ext>
              </a:extLst>
            </p:cNvPr>
            <p:cNvCxnSpPr/>
            <p:nvPr userDrawn="1"/>
          </p:nvCxnSpPr>
          <p:spPr bwMode="black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584ED4C1-CE4B-4983-BA97-346408DC67CE}"/>
                </a:ext>
              </a:extLst>
            </p:cNvPr>
            <p:cNvCxnSpPr/>
            <p:nvPr userDrawn="1"/>
          </p:nvCxnSpPr>
          <p:spPr bwMode="black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C71EB62-716E-4C9B-AF43-BD800A252535}"/>
                </a:ext>
              </a:extLst>
            </p:cNvPr>
            <p:cNvCxnSpPr/>
            <p:nvPr userDrawn="1"/>
          </p:nvCxnSpPr>
          <p:spPr bwMode="black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9D29CB2-8929-4A25-98AF-2BEB838CFADE}"/>
                </a:ext>
              </a:extLst>
            </p:cNvPr>
            <p:cNvCxnSpPr/>
            <p:nvPr userDrawn="1"/>
          </p:nvCxnSpPr>
          <p:spPr bwMode="black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555DD7-8F54-4055-98D9-803ECA4B000E}"/>
                </a:ext>
              </a:extLst>
            </p:cNvPr>
            <p:cNvCxnSpPr/>
            <p:nvPr userDrawn="1"/>
          </p:nvCxnSpPr>
          <p:spPr bwMode="black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B2A8ED3D-1604-4356-8E79-C73DF5C07F87}"/>
                </a:ext>
              </a:extLst>
            </p:cNvPr>
            <p:cNvCxnSpPr/>
            <p:nvPr userDrawn="1"/>
          </p:nvCxnSpPr>
          <p:spPr bwMode="black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59B3DA24-D2F6-4B96-A966-7778F0462788}"/>
                </a:ext>
              </a:extLst>
            </p:cNvPr>
            <p:cNvCxnSpPr/>
            <p:nvPr userDrawn="1"/>
          </p:nvCxnSpPr>
          <p:spPr bwMode="black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5B2BC198-E061-43B5-8B72-9AECD4EF674C}"/>
                </a:ext>
              </a:extLst>
            </p:cNvPr>
            <p:cNvCxnSpPr/>
            <p:nvPr userDrawn="1"/>
          </p:nvCxnSpPr>
          <p:spPr bwMode="black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CBD1AA7-CC60-49B9-AAED-95002306B6DB}"/>
                </a:ext>
              </a:extLst>
            </p:cNvPr>
            <p:cNvCxnSpPr/>
            <p:nvPr userDrawn="1"/>
          </p:nvCxnSpPr>
          <p:spPr bwMode="black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6CFC690-A932-420E-8641-E0D4F1D14F71}"/>
                </a:ext>
              </a:extLst>
            </p:cNvPr>
            <p:cNvCxnSpPr/>
            <p:nvPr userDrawn="1"/>
          </p:nvCxnSpPr>
          <p:spPr bwMode="black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981262C0-EBF5-4D95-9E2E-78B7BE1D5F8F}"/>
                </a:ext>
              </a:extLst>
            </p:cNvPr>
            <p:cNvCxnSpPr/>
            <p:nvPr userDrawn="1"/>
          </p:nvCxnSpPr>
          <p:spPr bwMode="black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72412145-9F02-45F4-8A1F-4109B09DA77F}"/>
                </a:ext>
              </a:extLst>
            </p:cNvPr>
            <p:cNvCxnSpPr/>
            <p:nvPr userDrawn="1"/>
          </p:nvCxnSpPr>
          <p:spPr bwMode="black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4EFB458C-651C-47B0-830C-DFC18029EB15}"/>
                </a:ext>
              </a:extLst>
            </p:cNvPr>
            <p:cNvCxnSpPr/>
            <p:nvPr userDrawn="1"/>
          </p:nvCxnSpPr>
          <p:spPr bwMode="black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275A12CE-1B9C-467B-A41F-63B02D949AF6}"/>
                </a:ext>
              </a:extLst>
            </p:cNvPr>
            <p:cNvCxnSpPr/>
            <p:nvPr userDrawn="1"/>
          </p:nvCxnSpPr>
          <p:spPr bwMode="black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E166A7E-724C-41B9-B1E3-C18068EECF0D}"/>
                </a:ext>
              </a:extLst>
            </p:cNvPr>
            <p:cNvCxnSpPr/>
            <p:nvPr userDrawn="1"/>
          </p:nvCxnSpPr>
          <p:spPr bwMode="black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A628A8A-2AC5-47F3-84EC-7B44237EC8C4}"/>
                </a:ext>
              </a:extLst>
            </p:cNvPr>
            <p:cNvCxnSpPr/>
            <p:nvPr userDrawn="1"/>
          </p:nvCxnSpPr>
          <p:spPr bwMode="black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B89EEAE6-AB58-4DA0-97B7-5ED0B4FB66F7}"/>
                </a:ext>
              </a:extLst>
            </p:cNvPr>
            <p:cNvCxnSpPr/>
            <p:nvPr userDrawn="1"/>
          </p:nvCxnSpPr>
          <p:spPr bwMode="black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9973091C-4F57-45F5-9278-A5495574B244}"/>
                </a:ext>
              </a:extLst>
            </p:cNvPr>
            <p:cNvCxnSpPr/>
            <p:nvPr userDrawn="1"/>
          </p:nvCxnSpPr>
          <p:spPr bwMode="black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013782DF-D3CE-43BC-B089-7657B3CC9E4F}"/>
                </a:ext>
              </a:extLst>
            </p:cNvPr>
            <p:cNvCxnSpPr/>
            <p:nvPr userDrawn="1"/>
          </p:nvCxnSpPr>
          <p:spPr bwMode="black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40E03DB-D3B5-4ED2-94F1-18B05EF36E60}"/>
                </a:ext>
              </a:extLst>
            </p:cNvPr>
            <p:cNvCxnSpPr/>
            <p:nvPr userDrawn="1"/>
          </p:nvCxnSpPr>
          <p:spPr bwMode="black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283FFB0A-CBFF-4BBE-BC87-0A2AF4284576}"/>
                </a:ext>
              </a:extLst>
            </p:cNvPr>
            <p:cNvCxnSpPr/>
            <p:nvPr userDrawn="1"/>
          </p:nvCxnSpPr>
          <p:spPr bwMode="black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D5A634C-FA6D-4F49-AAD5-BBCE990D4748}"/>
                </a:ext>
              </a:extLst>
            </p:cNvPr>
            <p:cNvCxnSpPr/>
            <p:nvPr userDrawn="1"/>
          </p:nvCxnSpPr>
          <p:spPr bwMode="black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205ED71-0851-4E0C-A163-BC3D3039E671}"/>
                </a:ext>
              </a:extLst>
            </p:cNvPr>
            <p:cNvCxnSpPr/>
            <p:nvPr userDrawn="1"/>
          </p:nvCxnSpPr>
          <p:spPr bwMode="black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715526AD-CEE9-474C-A9A5-D49A5346A930}"/>
                </a:ext>
              </a:extLst>
            </p:cNvPr>
            <p:cNvCxnSpPr/>
            <p:nvPr userDrawn="1"/>
          </p:nvCxnSpPr>
          <p:spPr bwMode="black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7BD9B20-C7BC-413A-A578-C3FF8BEBBDC0}"/>
                </a:ext>
              </a:extLst>
            </p:cNvPr>
            <p:cNvCxnSpPr/>
            <p:nvPr userDrawn="1"/>
          </p:nvCxnSpPr>
          <p:spPr bwMode="black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A981CE9B-6327-4D32-B970-04D7EC41EE89}"/>
                </a:ext>
              </a:extLst>
            </p:cNvPr>
            <p:cNvCxnSpPr/>
            <p:nvPr userDrawn="1"/>
          </p:nvCxnSpPr>
          <p:spPr bwMode="black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E8F3FFC1-0364-4801-813A-54371A2C43DA}"/>
                </a:ext>
              </a:extLst>
            </p:cNvPr>
            <p:cNvCxnSpPr/>
            <p:nvPr userDrawn="1"/>
          </p:nvCxnSpPr>
          <p:spPr bwMode="black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5606A9C3-FEED-4F52-B442-5009E3F7B54C}"/>
                </a:ext>
              </a:extLst>
            </p:cNvPr>
            <p:cNvCxnSpPr/>
            <p:nvPr userDrawn="1"/>
          </p:nvCxnSpPr>
          <p:spPr bwMode="black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9DAE2C86-BAE6-47A1-94B1-327465587DE7}"/>
                </a:ext>
              </a:extLst>
            </p:cNvPr>
            <p:cNvCxnSpPr/>
            <p:nvPr userDrawn="1"/>
          </p:nvCxnSpPr>
          <p:spPr bwMode="black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9686103-ADA6-4E1A-817A-E71466AE209B}"/>
                </a:ext>
              </a:extLst>
            </p:cNvPr>
            <p:cNvCxnSpPr/>
            <p:nvPr userDrawn="1"/>
          </p:nvCxnSpPr>
          <p:spPr bwMode="black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BD273DE-C35C-4DA9-96B1-DDB7F800252C}"/>
                </a:ext>
              </a:extLst>
            </p:cNvPr>
            <p:cNvCxnSpPr/>
            <p:nvPr userDrawn="1"/>
          </p:nvCxnSpPr>
          <p:spPr bwMode="black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9A7DF1D-083E-42BB-91EA-4E30FEA625A2}"/>
                </a:ext>
              </a:extLst>
            </p:cNvPr>
            <p:cNvCxnSpPr/>
            <p:nvPr userDrawn="1"/>
          </p:nvCxnSpPr>
          <p:spPr bwMode="black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2D0D1604-79C2-46BE-9905-D864D0ECFE20}"/>
                </a:ext>
              </a:extLst>
            </p:cNvPr>
            <p:cNvCxnSpPr/>
            <p:nvPr userDrawn="1"/>
          </p:nvCxnSpPr>
          <p:spPr bwMode="black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B7B9FA60-E80E-4FE7-BB67-028805A248EE}"/>
                </a:ext>
              </a:extLst>
            </p:cNvPr>
            <p:cNvCxnSpPr/>
            <p:nvPr userDrawn="1"/>
          </p:nvCxnSpPr>
          <p:spPr bwMode="black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102F5688-0147-4CC6-8FB3-67034979720D}"/>
                </a:ext>
              </a:extLst>
            </p:cNvPr>
            <p:cNvCxnSpPr/>
            <p:nvPr userDrawn="1"/>
          </p:nvCxnSpPr>
          <p:spPr bwMode="black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main body box">
              <a:extLst>
                <a:ext uri="{FF2B5EF4-FFF2-40B4-BE49-F238E27FC236}">
                  <a16:creationId xmlns:a16="http://schemas.microsoft.com/office/drawing/2014/main" id="{3AB62359-B582-4196-8266-DC8ADBA988F4}"/>
                </a:ext>
              </a:extLst>
            </p:cNvPr>
            <p:cNvSpPr/>
            <p:nvPr userDrawn="1"/>
          </p:nvSpPr>
          <p:spPr bwMode="black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3D738849-8295-4057-B044-0B0E80C1C3DA}"/>
                </a:ext>
              </a:extLst>
            </p:cNvPr>
            <p:cNvCxnSpPr/>
            <p:nvPr userDrawn="1"/>
          </p:nvCxnSpPr>
          <p:spPr bwMode="black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81361245-226A-4BA1-8B7C-025011F07E2A}"/>
                </a:ext>
              </a:extLst>
            </p:cNvPr>
            <p:cNvCxnSpPr/>
            <p:nvPr userDrawn="1"/>
          </p:nvCxnSpPr>
          <p:spPr bwMode="black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3" name="Sticker" hidden="1">
            <a:extLst>
              <a:ext uri="{FF2B5EF4-FFF2-40B4-BE49-F238E27FC236}">
                <a16:creationId xmlns:a16="http://schemas.microsoft.com/office/drawing/2014/main" id="{F4B31D41-9E38-4C47-B14A-953F41CF2048}"/>
              </a:ext>
            </a:extLst>
          </p:cNvPr>
          <p:cNvSpPr txBox="1"/>
          <p:nvPr userDrawn="1"/>
        </p:nvSpPr>
        <p:spPr>
          <a:xfrm>
            <a:off x="416052" y="834828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55" name="ACET" hidden="1">
            <a:extLst>
              <a:ext uri="{FF2B5EF4-FFF2-40B4-BE49-F238E27FC236}">
                <a16:creationId xmlns:a16="http://schemas.microsoft.com/office/drawing/2014/main" id="{6FC9F96D-D74F-4064-BE66-104F69CCE92E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15925" y="2133599"/>
            <a:ext cx="3049253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400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2155825"/>
            <a:ext cx="2168863" cy="143372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2" name="LegendBoxes" hidden="1">
            <a:extLst>
              <a:ext uri="{FF2B5EF4-FFF2-40B4-BE49-F238E27FC236}">
                <a16:creationId xmlns:a16="http://schemas.microsoft.com/office/drawing/2014/main" id="{963CCBC6-05DA-41C5-8A26-02B4B8294556}"/>
              </a:ext>
            </a:extLst>
          </p:cNvPr>
          <p:cNvGrpSpPr/>
          <p:nvPr userDrawn="1"/>
        </p:nvGrpSpPr>
        <p:grpSpPr>
          <a:xfrm>
            <a:off x="7892047" y="4396889"/>
            <a:ext cx="835901" cy="1686504"/>
            <a:chOff x="7756825" y="4379430"/>
            <a:chExt cx="835901" cy="1686504"/>
          </a:xfrm>
        </p:grpSpPr>
        <p:sp>
          <p:nvSpPr>
            <p:cNvPr id="153" name="RectangleLegend1">
              <a:extLst>
                <a:ext uri="{FF2B5EF4-FFF2-40B4-BE49-F238E27FC236}">
                  <a16:creationId xmlns:a16="http://schemas.microsoft.com/office/drawing/2014/main" id="{658AC4E5-B9F1-4DD2-A80F-DAC539F6EDF1}"/>
                </a:ext>
              </a:extLst>
            </p:cNvPr>
            <p:cNvSpPr/>
            <p:nvPr/>
          </p:nvSpPr>
          <p:spPr>
            <a:xfrm>
              <a:off x="7756825" y="4385399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54" name="RectangleLegend2">
              <a:extLst>
                <a:ext uri="{FF2B5EF4-FFF2-40B4-BE49-F238E27FC236}">
                  <a16:creationId xmlns:a16="http://schemas.microsoft.com/office/drawing/2014/main" id="{B2384542-8C23-4E14-80D2-CA9F267323F0}"/>
                </a:ext>
              </a:extLst>
            </p:cNvPr>
            <p:cNvSpPr/>
            <p:nvPr/>
          </p:nvSpPr>
          <p:spPr>
            <a:xfrm>
              <a:off x="7756825" y="4764897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tangleLegend3">
              <a:extLst>
                <a:ext uri="{FF2B5EF4-FFF2-40B4-BE49-F238E27FC236}">
                  <a16:creationId xmlns:a16="http://schemas.microsoft.com/office/drawing/2014/main" id="{060EF611-D1B1-4A78-8D88-DC9E2B83640A}"/>
                </a:ext>
              </a:extLst>
            </p:cNvPr>
            <p:cNvSpPr/>
            <p:nvPr/>
          </p:nvSpPr>
          <p:spPr>
            <a:xfrm>
              <a:off x="7756825" y="5138493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5" name="RectangleLegend4">
              <a:extLst>
                <a:ext uri="{FF2B5EF4-FFF2-40B4-BE49-F238E27FC236}">
                  <a16:creationId xmlns:a16="http://schemas.microsoft.com/office/drawing/2014/main" id="{E1613226-3F7F-4C55-A6C0-DD8251B844E6}"/>
                </a:ext>
              </a:extLst>
            </p:cNvPr>
            <p:cNvSpPr/>
            <p:nvPr/>
          </p:nvSpPr>
          <p:spPr>
            <a:xfrm>
              <a:off x="7756825" y="5512089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tangleLegend5">
              <a:extLst>
                <a:ext uri="{FF2B5EF4-FFF2-40B4-BE49-F238E27FC236}">
                  <a16:creationId xmlns:a16="http://schemas.microsoft.com/office/drawing/2014/main" id="{5BE928B1-5A9D-43CB-BC80-2D1F93CC2F3C}"/>
                </a:ext>
              </a:extLst>
            </p:cNvPr>
            <p:cNvSpPr/>
            <p:nvPr/>
          </p:nvSpPr>
          <p:spPr>
            <a:xfrm>
              <a:off x="7756825" y="5885685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7" name="Legend1">
              <a:extLst>
                <a:ext uri="{FF2B5EF4-FFF2-40B4-BE49-F238E27FC236}">
                  <a16:creationId xmlns:a16="http://schemas.microsoft.com/office/drawing/2014/main" id="{588189A8-DB4B-43BF-B593-04C5DB541C53}"/>
                </a:ext>
              </a:extLst>
            </p:cNvPr>
            <p:cNvSpPr txBox="1"/>
            <p:nvPr/>
          </p:nvSpPr>
          <p:spPr>
            <a:xfrm>
              <a:off x="8082971" y="4379430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8" name="Legend2">
              <a:extLst>
                <a:ext uri="{FF2B5EF4-FFF2-40B4-BE49-F238E27FC236}">
                  <a16:creationId xmlns:a16="http://schemas.microsoft.com/office/drawing/2014/main" id="{BFD93A1F-3913-44CB-80B7-EFCD2B4BF5BC}"/>
                </a:ext>
              </a:extLst>
            </p:cNvPr>
            <p:cNvSpPr txBox="1"/>
            <p:nvPr/>
          </p:nvSpPr>
          <p:spPr>
            <a:xfrm>
              <a:off x="8082971" y="4758928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9" name="Legend3">
              <a:extLst>
                <a:ext uri="{FF2B5EF4-FFF2-40B4-BE49-F238E27FC236}">
                  <a16:creationId xmlns:a16="http://schemas.microsoft.com/office/drawing/2014/main" id="{F7B1D1E0-C2A5-481C-8640-41B469498D8D}"/>
                </a:ext>
              </a:extLst>
            </p:cNvPr>
            <p:cNvSpPr txBox="1"/>
            <p:nvPr/>
          </p:nvSpPr>
          <p:spPr>
            <a:xfrm>
              <a:off x="8082971" y="5138426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0" name="Legend4">
              <a:extLst>
                <a:ext uri="{FF2B5EF4-FFF2-40B4-BE49-F238E27FC236}">
                  <a16:creationId xmlns:a16="http://schemas.microsoft.com/office/drawing/2014/main" id="{C8DA0D60-61E4-4C36-A081-C71B9380B540}"/>
                </a:ext>
              </a:extLst>
            </p:cNvPr>
            <p:cNvSpPr txBox="1"/>
            <p:nvPr/>
          </p:nvSpPr>
          <p:spPr>
            <a:xfrm>
              <a:off x="8082971" y="5509847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1" name="Legend5">
              <a:extLst>
                <a:ext uri="{FF2B5EF4-FFF2-40B4-BE49-F238E27FC236}">
                  <a16:creationId xmlns:a16="http://schemas.microsoft.com/office/drawing/2014/main" id="{0642CA01-EC45-4B1C-8CC1-746C78F308A5}"/>
                </a:ext>
              </a:extLst>
            </p:cNvPr>
            <p:cNvSpPr txBox="1"/>
            <p:nvPr/>
          </p:nvSpPr>
          <p:spPr>
            <a:xfrm>
              <a:off x="8082970" y="5881268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</p:grpSp>
      <p:grpSp>
        <p:nvGrpSpPr>
          <p:cNvPr id="172" name="LegendLines" hidden="1">
            <a:extLst>
              <a:ext uri="{FF2B5EF4-FFF2-40B4-BE49-F238E27FC236}">
                <a16:creationId xmlns:a16="http://schemas.microsoft.com/office/drawing/2014/main" id="{F23A354F-6D61-4076-98CC-072D54F2B9B5}"/>
              </a:ext>
            </a:extLst>
          </p:cNvPr>
          <p:cNvGrpSpPr/>
          <p:nvPr userDrawn="1"/>
        </p:nvGrpSpPr>
        <p:grpSpPr>
          <a:xfrm>
            <a:off x="7601970" y="3237562"/>
            <a:ext cx="1125978" cy="927508"/>
            <a:chOff x="7495285" y="2250552"/>
            <a:chExt cx="1125978" cy="927508"/>
          </a:xfrm>
        </p:grpSpPr>
        <p:sp>
          <p:nvSpPr>
            <p:cNvPr id="173" name="Legend1">
              <a:extLst>
                <a:ext uri="{FF2B5EF4-FFF2-40B4-BE49-F238E27FC236}">
                  <a16:creationId xmlns:a16="http://schemas.microsoft.com/office/drawing/2014/main" id="{10E606C6-97CA-4FF0-A153-84CA4E8F414F}"/>
                </a:ext>
              </a:extLst>
            </p:cNvPr>
            <p:cNvSpPr txBox="1"/>
            <p:nvPr/>
          </p:nvSpPr>
          <p:spPr>
            <a:xfrm>
              <a:off x="8111508" y="2250552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4" name="Legend2">
              <a:extLst>
                <a:ext uri="{FF2B5EF4-FFF2-40B4-BE49-F238E27FC236}">
                  <a16:creationId xmlns:a16="http://schemas.microsoft.com/office/drawing/2014/main" id="{5F43CABA-AFC6-491E-A7D7-B466654F525D}"/>
                </a:ext>
              </a:extLst>
            </p:cNvPr>
            <p:cNvSpPr txBox="1"/>
            <p:nvPr/>
          </p:nvSpPr>
          <p:spPr>
            <a:xfrm>
              <a:off x="8111508" y="262197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5" name="Legend3">
              <a:extLst>
                <a:ext uri="{FF2B5EF4-FFF2-40B4-BE49-F238E27FC236}">
                  <a16:creationId xmlns:a16="http://schemas.microsoft.com/office/drawing/2014/main" id="{DA7660EB-4D51-4982-8372-6E58C50CDE5E}"/>
                </a:ext>
              </a:extLst>
            </p:cNvPr>
            <p:cNvSpPr txBox="1"/>
            <p:nvPr/>
          </p:nvSpPr>
          <p:spPr>
            <a:xfrm>
              <a:off x="8111508" y="2993394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6" name="LineLegend3">
              <a:extLst>
                <a:ext uri="{FF2B5EF4-FFF2-40B4-BE49-F238E27FC236}">
                  <a16:creationId xmlns:a16="http://schemas.microsoft.com/office/drawing/2014/main" id="{966C354A-0204-46EB-8E36-0146C3FD31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3084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7" name="LineLegend2">
              <a:extLst>
                <a:ext uri="{FF2B5EF4-FFF2-40B4-BE49-F238E27FC236}">
                  <a16:creationId xmlns:a16="http://schemas.microsoft.com/office/drawing/2014/main" id="{B87C293D-A7CD-4508-B0B1-2017113A58A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710816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8" name="LineLegend1">
              <a:extLst>
                <a:ext uri="{FF2B5EF4-FFF2-40B4-BE49-F238E27FC236}">
                  <a16:creationId xmlns:a16="http://schemas.microsoft.com/office/drawing/2014/main" id="{4456FE58-0255-4DBB-92A8-6CC5F84B71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34288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</p:grpSp>
      <p:grpSp>
        <p:nvGrpSpPr>
          <p:cNvPr id="179" name="LegendMoons" hidden="1">
            <a:extLst>
              <a:ext uri="{FF2B5EF4-FFF2-40B4-BE49-F238E27FC236}">
                <a16:creationId xmlns:a16="http://schemas.microsoft.com/office/drawing/2014/main" id="{70A0319B-8EBB-4F65-9A96-1B1BB35625B1}"/>
              </a:ext>
            </a:extLst>
          </p:cNvPr>
          <p:cNvGrpSpPr/>
          <p:nvPr userDrawn="1"/>
        </p:nvGrpSpPr>
        <p:grpSpPr>
          <a:xfrm>
            <a:off x="7865561" y="1289273"/>
            <a:ext cx="862387" cy="1731859"/>
            <a:chOff x="7723680" y="1702457"/>
            <a:chExt cx="862387" cy="1731859"/>
          </a:xfrm>
        </p:grpSpPr>
        <p:sp>
          <p:nvSpPr>
            <p:cNvPr id="201" name="Legend1">
              <a:extLst>
                <a:ext uri="{FF2B5EF4-FFF2-40B4-BE49-F238E27FC236}">
                  <a16:creationId xmlns:a16="http://schemas.microsoft.com/office/drawing/2014/main" id="{49BB8121-D802-4602-ABD0-B61681B018F3}"/>
                </a:ext>
              </a:extLst>
            </p:cNvPr>
            <p:cNvSpPr txBox="1"/>
            <p:nvPr/>
          </p:nvSpPr>
          <p:spPr>
            <a:xfrm>
              <a:off x="8076312" y="1725205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2" name="Legend2">
              <a:extLst>
                <a:ext uri="{FF2B5EF4-FFF2-40B4-BE49-F238E27FC236}">
                  <a16:creationId xmlns:a16="http://schemas.microsoft.com/office/drawing/2014/main" id="{5EBAE2BA-95BE-43BE-ADD2-84B42D0356EE}"/>
                </a:ext>
              </a:extLst>
            </p:cNvPr>
            <p:cNvSpPr txBox="1"/>
            <p:nvPr/>
          </p:nvSpPr>
          <p:spPr>
            <a:xfrm>
              <a:off x="8076312" y="2100664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3" name="Legend3">
              <a:extLst>
                <a:ext uri="{FF2B5EF4-FFF2-40B4-BE49-F238E27FC236}">
                  <a16:creationId xmlns:a16="http://schemas.microsoft.com/office/drawing/2014/main" id="{F96B8EA8-EAE8-4395-BA9F-6F1303EA348F}"/>
                </a:ext>
              </a:extLst>
            </p:cNvPr>
            <p:cNvSpPr txBox="1"/>
            <p:nvPr/>
          </p:nvSpPr>
          <p:spPr>
            <a:xfrm>
              <a:off x="8076312" y="247612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4" name="Legend4">
              <a:extLst>
                <a:ext uri="{FF2B5EF4-FFF2-40B4-BE49-F238E27FC236}">
                  <a16:creationId xmlns:a16="http://schemas.microsoft.com/office/drawing/2014/main" id="{BE4110F2-0F5F-4468-93FA-59E84FEB9E4A}"/>
                </a:ext>
              </a:extLst>
            </p:cNvPr>
            <p:cNvSpPr txBox="1"/>
            <p:nvPr/>
          </p:nvSpPr>
          <p:spPr>
            <a:xfrm>
              <a:off x="8076312" y="2851582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5" name="Legend5">
              <a:extLst>
                <a:ext uri="{FF2B5EF4-FFF2-40B4-BE49-F238E27FC236}">
                  <a16:creationId xmlns:a16="http://schemas.microsoft.com/office/drawing/2014/main" id="{E16B28D1-13B2-4F91-8123-CC4749412D3B}"/>
                </a:ext>
              </a:extLst>
            </p:cNvPr>
            <p:cNvSpPr txBox="1"/>
            <p:nvPr/>
          </p:nvSpPr>
          <p:spPr>
            <a:xfrm>
              <a:off x="8076312" y="322704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grpSp>
          <p:nvGrpSpPr>
            <p:cNvPr id="206" name="MoonLegend1">
              <a:extLst>
                <a:ext uri="{FF2B5EF4-FFF2-40B4-BE49-F238E27FC236}">
                  <a16:creationId xmlns:a16="http://schemas.microsoft.com/office/drawing/2014/main" id="{A16FD1F9-C160-4C4C-BAF6-716DDB869224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5282EEB0-B664-439C-B943-F7BB43CCAC0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68D40D9B-9DF0-4077-8151-E93B0977AD0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7" name="MoonLegend2">
              <a:extLst>
                <a:ext uri="{FF2B5EF4-FFF2-40B4-BE49-F238E27FC236}">
                  <a16:creationId xmlns:a16="http://schemas.microsoft.com/office/drawing/2014/main" id="{F9F241E8-6251-451F-9BE9-2C8D83F44D6B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578B0A0D-F30C-40C1-A9C4-EB63E6138F4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87395151-2586-43D8-B836-6324CB40789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8" name="MoonLegend3">
              <a:extLst>
                <a:ext uri="{FF2B5EF4-FFF2-40B4-BE49-F238E27FC236}">
                  <a16:creationId xmlns:a16="http://schemas.microsoft.com/office/drawing/2014/main" id="{B66D3648-DE5A-4E5C-8578-141D178A4AD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D2DC89B-E4DB-4EBC-B12A-607EB3C23DED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50301F1B-4914-4337-B892-733925FD1C5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9" name="MoonLegend4">
              <a:extLst>
                <a:ext uri="{FF2B5EF4-FFF2-40B4-BE49-F238E27FC236}">
                  <a16:creationId xmlns:a16="http://schemas.microsoft.com/office/drawing/2014/main" id="{69C2ABAA-7291-4A19-A40B-3990AB445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B9D4D141-7E0B-42D0-994A-D8212F69EE2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>
                <a:extLst>
                  <a:ext uri="{FF2B5EF4-FFF2-40B4-BE49-F238E27FC236}">
                    <a16:creationId xmlns:a16="http://schemas.microsoft.com/office/drawing/2014/main" id="{397EC893-9249-44CD-982F-F7F0B99DFCA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10" name="MoonLegend5">
              <a:extLst>
                <a:ext uri="{FF2B5EF4-FFF2-40B4-BE49-F238E27FC236}">
                  <a16:creationId xmlns:a16="http://schemas.microsoft.com/office/drawing/2014/main" id="{CDCE6D47-F48F-4497-BD5A-E92F724CEE3D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E8E291C3-4BCA-406E-8B9A-6A354B83EF50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>
                <a:extLst>
                  <a:ext uri="{FF2B5EF4-FFF2-40B4-BE49-F238E27FC236}">
                    <a16:creationId xmlns:a16="http://schemas.microsoft.com/office/drawing/2014/main" id="{4C9C4DC9-D1E5-45F3-943E-09B75E72EE8C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22304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  <p:sldLayoutId id="2147483940" r:id="rId14"/>
  </p:sldLayoutIdLst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lang="en-US" sz="22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5497">
          <p15:clr>
            <a:srgbClr val="F26B43"/>
          </p15:clr>
        </p15:guide>
        <p15:guide id="6" pos="259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8963AA3D-EFA3-4938-9D41-C8DDC03F7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0908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19" name="think-cell Slide" r:id="rId42" imgW="572" imgH="588" progId="TCLayout.ActiveDocument.1">
                  <p:embed/>
                </p:oleObj>
              </mc:Choice>
              <mc:Fallback>
                <p:oleObj name="think-cell Slide" r:id="rId42" imgW="572" imgH="58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8963AA3D-EFA3-4938-9D41-C8DDC03F7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 hidden="1">
            <a:extLst>
              <a:ext uri="{FF2B5EF4-FFF2-40B4-BE49-F238E27FC236}">
                <a16:creationId xmlns:a16="http://schemas.microsoft.com/office/drawing/2014/main" id="{C4A855FC-965A-4859-83A9-629E80C693BF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2" name="4. Footnote" hidden="1">
            <a:extLst>
              <a:ext uri="{FF2B5EF4-FFF2-40B4-BE49-F238E27FC236}">
                <a16:creationId xmlns:a16="http://schemas.microsoft.com/office/drawing/2014/main" id="{06E07A66-B8BA-42E8-A0F6-6B0251CAA48E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11480" y="6274554"/>
            <a:ext cx="831189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BAD3E984-2EF2-43CD-BB0E-16A737B99040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416052" y="173736"/>
            <a:ext cx="8311896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3" name="Grid" hidden="1">
            <a:extLst>
              <a:ext uri="{FF2B5EF4-FFF2-40B4-BE49-F238E27FC236}">
                <a16:creationId xmlns:a16="http://schemas.microsoft.com/office/drawing/2014/main" id="{564EB9F6-AC04-42ED-9CB6-6D01335D9982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 bwMode="blackGray">
          <a:xfrm>
            <a:off x="1" y="0"/>
            <a:ext cx="9142857" cy="6858000"/>
            <a:chOff x="0" y="0"/>
            <a:chExt cx="12190476" cy="6858000"/>
          </a:xfrm>
        </p:grpSpPr>
        <p:sp>
          <p:nvSpPr>
            <p:cNvPr id="55" name="slide margin">
              <a:extLst>
                <a:ext uri="{FF2B5EF4-FFF2-40B4-BE49-F238E27FC236}">
                  <a16:creationId xmlns:a16="http://schemas.microsoft.com/office/drawing/2014/main" id="{F5DBB269-56D9-4200-9112-12E14BA26FC3}"/>
                </a:ext>
              </a:extLst>
            </p:cNvPr>
            <p:cNvSpPr/>
            <p:nvPr/>
          </p:nvSpPr>
          <p:spPr bwMode="black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7A4F8EE-DD16-44D6-8659-4BC61E1C4968}"/>
                </a:ext>
              </a:extLst>
            </p:cNvPr>
            <p:cNvCxnSpPr/>
            <p:nvPr/>
          </p:nvCxnSpPr>
          <p:spPr bwMode="black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A20FAAC0-CCE6-4BC5-A835-E805E4CFE84B}"/>
                </a:ext>
              </a:extLst>
            </p:cNvPr>
            <p:cNvCxnSpPr/>
            <p:nvPr/>
          </p:nvCxnSpPr>
          <p:spPr bwMode="black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CE62967-F8DD-442A-A2C7-5EC8AB9FE8CE}"/>
                </a:ext>
              </a:extLst>
            </p:cNvPr>
            <p:cNvCxnSpPr/>
            <p:nvPr/>
          </p:nvCxnSpPr>
          <p:spPr bwMode="black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D8E0C4-F713-47B9-9258-FCC3EF4AC2D3}"/>
                </a:ext>
              </a:extLst>
            </p:cNvPr>
            <p:cNvCxnSpPr/>
            <p:nvPr/>
          </p:nvCxnSpPr>
          <p:spPr bwMode="black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9209D019-80C7-44F7-B340-FDC6CF76FDFE}"/>
                </a:ext>
              </a:extLst>
            </p:cNvPr>
            <p:cNvCxnSpPr/>
            <p:nvPr/>
          </p:nvCxnSpPr>
          <p:spPr bwMode="black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B6FCE71-887F-4F0B-ACCD-6CFCD13E12A8}"/>
                </a:ext>
              </a:extLst>
            </p:cNvPr>
            <p:cNvCxnSpPr/>
            <p:nvPr/>
          </p:nvCxnSpPr>
          <p:spPr bwMode="black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25852E5-79E9-4D30-89F2-E8E3C7A8A8D3}"/>
                </a:ext>
              </a:extLst>
            </p:cNvPr>
            <p:cNvCxnSpPr/>
            <p:nvPr/>
          </p:nvCxnSpPr>
          <p:spPr bwMode="black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1894E67-6006-4C83-BBB3-824E5C6CAE33}"/>
                </a:ext>
              </a:extLst>
            </p:cNvPr>
            <p:cNvCxnSpPr/>
            <p:nvPr/>
          </p:nvCxnSpPr>
          <p:spPr bwMode="black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8B05A6-707C-49A0-B29E-A54224F6D77E}"/>
                </a:ext>
              </a:extLst>
            </p:cNvPr>
            <p:cNvCxnSpPr/>
            <p:nvPr/>
          </p:nvCxnSpPr>
          <p:spPr bwMode="black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6D036E9-E68E-45AC-88B1-3889BA9AC140}"/>
                </a:ext>
              </a:extLst>
            </p:cNvPr>
            <p:cNvCxnSpPr/>
            <p:nvPr/>
          </p:nvCxnSpPr>
          <p:spPr bwMode="black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228A5C01-418B-415F-ACE4-12657A25C674}"/>
                </a:ext>
              </a:extLst>
            </p:cNvPr>
            <p:cNvCxnSpPr/>
            <p:nvPr/>
          </p:nvCxnSpPr>
          <p:spPr bwMode="black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CD3EFBD-902E-4760-89FE-386EC5FAB5DD}"/>
                </a:ext>
              </a:extLst>
            </p:cNvPr>
            <p:cNvCxnSpPr/>
            <p:nvPr/>
          </p:nvCxnSpPr>
          <p:spPr bwMode="black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6E80E37-4393-4509-A7F8-81796082DBE6}"/>
                </a:ext>
              </a:extLst>
            </p:cNvPr>
            <p:cNvSpPr/>
            <p:nvPr/>
          </p:nvSpPr>
          <p:spPr bwMode="black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8B6547D-77F2-421A-BE02-C2FE626088A2}"/>
                </a:ext>
              </a:extLst>
            </p:cNvPr>
            <p:cNvSpPr/>
            <p:nvPr/>
          </p:nvSpPr>
          <p:spPr bwMode="black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3092C087-1CB5-40EB-AAE7-4F62179E5B3D}"/>
                </a:ext>
              </a:extLst>
            </p:cNvPr>
            <p:cNvSpPr/>
            <p:nvPr/>
          </p:nvSpPr>
          <p:spPr bwMode="black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70C581B-2D28-48E7-9BF1-F773AD6A082F}"/>
                </a:ext>
              </a:extLst>
            </p:cNvPr>
            <p:cNvSpPr/>
            <p:nvPr/>
          </p:nvSpPr>
          <p:spPr bwMode="black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05DE51E3-D897-4994-9418-E8C2DE782A3A}"/>
                </a:ext>
              </a:extLst>
            </p:cNvPr>
            <p:cNvSpPr/>
            <p:nvPr/>
          </p:nvSpPr>
          <p:spPr bwMode="black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D9B6F9F-FA16-4594-8B72-43FF5F17F7FC}"/>
                </a:ext>
              </a:extLst>
            </p:cNvPr>
            <p:cNvSpPr/>
            <p:nvPr/>
          </p:nvSpPr>
          <p:spPr bwMode="black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21EA58F-1F84-493C-ACF6-F9FACAF48256}"/>
                </a:ext>
              </a:extLst>
            </p:cNvPr>
            <p:cNvSpPr/>
            <p:nvPr/>
          </p:nvSpPr>
          <p:spPr bwMode="black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08E60CB-D491-446F-999C-C54AA89B3EC2}"/>
                </a:ext>
              </a:extLst>
            </p:cNvPr>
            <p:cNvSpPr/>
            <p:nvPr/>
          </p:nvSpPr>
          <p:spPr bwMode="black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A798CCB-595D-477E-BB68-277026AE1F58}"/>
                </a:ext>
              </a:extLst>
            </p:cNvPr>
            <p:cNvSpPr/>
            <p:nvPr/>
          </p:nvSpPr>
          <p:spPr bwMode="black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DE4A3B3-1B25-4F73-AFB0-BC5117472C58}"/>
                </a:ext>
              </a:extLst>
            </p:cNvPr>
            <p:cNvSpPr/>
            <p:nvPr/>
          </p:nvSpPr>
          <p:spPr bwMode="black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B244C56-8768-49BE-9C5F-39DC27091866}"/>
                </a:ext>
              </a:extLst>
            </p:cNvPr>
            <p:cNvSpPr/>
            <p:nvPr/>
          </p:nvSpPr>
          <p:spPr bwMode="black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FF016B4B-663C-4A99-BA16-526587A98E3A}"/>
                </a:ext>
              </a:extLst>
            </p:cNvPr>
            <p:cNvSpPr/>
            <p:nvPr/>
          </p:nvSpPr>
          <p:spPr bwMode="black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0EE0782-4BFF-4C76-83A4-65CB2A78CF86}"/>
                </a:ext>
              </a:extLst>
            </p:cNvPr>
            <p:cNvSpPr/>
            <p:nvPr/>
          </p:nvSpPr>
          <p:spPr bwMode="black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922C003-5270-4D9A-ADCB-FBD0BCF17B75}"/>
                </a:ext>
              </a:extLst>
            </p:cNvPr>
            <p:cNvSpPr/>
            <p:nvPr/>
          </p:nvSpPr>
          <p:spPr bwMode="black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D711215-3D48-4B08-99DB-BE3939FDAC79}"/>
                </a:ext>
              </a:extLst>
            </p:cNvPr>
            <p:cNvSpPr/>
            <p:nvPr userDrawn="1"/>
          </p:nvSpPr>
          <p:spPr bwMode="black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DDFDFFA-F184-43C9-870C-DCF3B877593B}"/>
                </a:ext>
              </a:extLst>
            </p:cNvPr>
            <p:cNvSpPr/>
            <p:nvPr userDrawn="1"/>
          </p:nvSpPr>
          <p:spPr bwMode="black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7AD2D58-EC85-4919-86F2-00E85F906876}"/>
                </a:ext>
              </a:extLst>
            </p:cNvPr>
            <p:cNvSpPr/>
            <p:nvPr userDrawn="1"/>
          </p:nvSpPr>
          <p:spPr bwMode="black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01CF21A7-4535-4C57-8143-169D224ADC39}"/>
                </a:ext>
              </a:extLst>
            </p:cNvPr>
            <p:cNvSpPr/>
            <p:nvPr userDrawn="1"/>
          </p:nvSpPr>
          <p:spPr bwMode="black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56F035C-8FDC-45CE-B5B8-F8B4F5ACBC79}"/>
                </a:ext>
              </a:extLst>
            </p:cNvPr>
            <p:cNvSpPr/>
            <p:nvPr userDrawn="1"/>
          </p:nvSpPr>
          <p:spPr bwMode="black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D9B234A6-826A-413C-B931-D919E52A0719}"/>
                </a:ext>
              </a:extLst>
            </p:cNvPr>
            <p:cNvSpPr/>
            <p:nvPr userDrawn="1"/>
          </p:nvSpPr>
          <p:spPr bwMode="black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048B2BB-6FFB-4D27-96C7-176E63508A2B}"/>
                </a:ext>
              </a:extLst>
            </p:cNvPr>
            <p:cNvSpPr/>
            <p:nvPr userDrawn="1"/>
          </p:nvSpPr>
          <p:spPr bwMode="black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0F26DA9-CE5E-4276-B142-51E0AFC8EFF3}"/>
                </a:ext>
              </a:extLst>
            </p:cNvPr>
            <p:cNvSpPr/>
            <p:nvPr userDrawn="1"/>
          </p:nvSpPr>
          <p:spPr bwMode="black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EC25358-B7B6-4891-97D2-1B131FD58253}"/>
                </a:ext>
              </a:extLst>
            </p:cNvPr>
            <p:cNvSpPr/>
            <p:nvPr userDrawn="1"/>
          </p:nvSpPr>
          <p:spPr bwMode="black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F1D4F54-A5B6-4B8F-BA1C-9796B50D71E8}"/>
                </a:ext>
              </a:extLst>
            </p:cNvPr>
            <p:cNvSpPr/>
            <p:nvPr userDrawn="1"/>
          </p:nvSpPr>
          <p:spPr bwMode="black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D3E1AF58-F8BD-4C35-B17B-FF474AC07207}"/>
                </a:ext>
              </a:extLst>
            </p:cNvPr>
            <p:cNvSpPr/>
            <p:nvPr userDrawn="1"/>
          </p:nvSpPr>
          <p:spPr bwMode="black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F433238B-4167-4B9F-AD00-573B9904B268}"/>
                </a:ext>
              </a:extLst>
            </p:cNvPr>
            <p:cNvCxnSpPr/>
            <p:nvPr userDrawn="1"/>
          </p:nvCxnSpPr>
          <p:spPr bwMode="black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E9255B43-A6C1-44E1-AD76-0108E14CF1CF}"/>
                </a:ext>
              </a:extLst>
            </p:cNvPr>
            <p:cNvCxnSpPr/>
            <p:nvPr userDrawn="1"/>
          </p:nvCxnSpPr>
          <p:spPr bwMode="black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86976117-4103-48D7-A1A4-7B1F6EB39AF8}"/>
                </a:ext>
              </a:extLst>
            </p:cNvPr>
            <p:cNvCxnSpPr/>
            <p:nvPr userDrawn="1"/>
          </p:nvCxnSpPr>
          <p:spPr bwMode="black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AD237E79-C954-4F5C-9467-568C2B01D61D}"/>
                </a:ext>
              </a:extLst>
            </p:cNvPr>
            <p:cNvCxnSpPr/>
            <p:nvPr userDrawn="1"/>
          </p:nvCxnSpPr>
          <p:spPr bwMode="black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2C3CA5D-4381-498F-A12A-94E2357D48D3}"/>
                </a:ext>
              </a:extLst>
            </p:cNvPr>
            <p:cNvCxnSpPr/>
            <p:nvPr userDrawn="1"/>
          </p:nvCxnSpPr>
          <p:spPr bwMode="black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CA4E24DD-F3D4-4376-8AB6-A07DA4314FF3}"/>
                </a:ext>
              </a:extLst>
            </p:cNvPr>
            <p:cNvCxnSpPr/>
            <p:nvPr userDrawn="1"/>
          </p:nvCxnSpPr>
          <p:spPr bwMode="black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D5DC4754-8578-491E-A0FF-64F47384863A}"/>
                </a:ext>
              </a:extLst>
            </p:cNvPr>
            <p:cNvCxnSpPr/>
            <p:nvPr userDrawn="1"/>
          </p:nvCxnSpPr>
          <p:spPr bwMode="black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984F9AF-FC24-4244-B2B7-556836286B42}"/>
                </a:ext>
              </a:extLst>
            </p:cNvPr>
            <p:cNvCxnSpPr/>
            <p:nvPr userDrawn="1"/>
          </p:nvCxnSpPr>
          <p:spPr bwMode="black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BE39F50-755A-4A28-9262-956D50B5BDF8}"/>
                </a:ext>
              </a:extLst>
            </p:cNvPr>
            <p:cNvCxnSpPr/>
            <p:nvPr userDrawn="1"/>
          </p:nvCxnSpPr>
          <p:spPr bwMode="black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CFFE806D-C6EC-4A6A-A604-0951250AC780}"/>
                </a:ext>
              </a:extLst>
            </p:cNvPr>
            <p:cNvCxnSpPr/>
            <p:nvPr userDrawn="1"/>
          </p:nvCxnSpPr>
          <p:spPr bwMode="black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584ED4C1-CE4B-4983-BA97-346408DC67CE}"/>
                </a:ext>
              </a:extLst>
            </p:cNvPr>
            <p:cNvCxnSpPr/>
            <p:nvPr userDrawn="1"/>
          </p:nvCxnSpPr>
          <p:spPr bwMode="black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C71EB62-716E-4C9B-AF43-BD800A252535}"/>
                </a:ext>
              </a:extLst>
            </p:cNvPr>
            <p:cNvCxnSpPr/>
            <p:nvPr userDrawn="1"/>
          </p:nvCxnSpPr>
          <p:spPr bwMode="black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9D29CB2-8929-4A25-98AF-2BEB838CFADE}"/>
                </a:ext>
              </a:extLst>
            </p:cNvPr>
            <p:cNvCxnSpPr/>
            <p:nvPr userDrawn="1"/>
          </p:nvCxnSpPr>
          <p:spPr bwMode="black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555DD7-8F54-4055-98D9-803ECA4B000E}"/>
                </a:ext>
              </a:extLst>
            </p:cNvPr>
            <p:cNvCxnSpPr/>
            <p:nvPr userDrawn="1"/>
          </p:nvCxnSpPr>
          <p:spPr bwMode="black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B2A8ED3D-1604-4356-8E79-C73DF5C07F87}"/>
                </a:ext>
              </a:extLst>
            </p:cNvPr>
            <p:cNvCxnSpPr/>
            <p:nvPr userDrawn="1"/>
          </p:nvCxnSpPr>
          <p:spPr bwMode="black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59B3DA24-D2F6-4B96-A966-7778F0462788}"/>
                </a:ext>
              </a:extLst>
            </p:cNvPr>
            <p:cNvCxnSpPr/>
            <p:nvPr userDrawn="1"/>
          </p:nvCxnSpPr>
          <p:spPr bwMode="black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5B2BC198-E061-43B5-8B72-9AECD4EF674C}"/>
                </a:ext>
              </a:extLst>
            </p:cNvPr>
            <p:cNvCxnSpPr/>
            <p:nvPr userDrawn="1"/>
          </p:nvCxnSpPr>
          <p:spPr bwMode="black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CBD1AA7-CC60-49B9-AAED-95002306B6DB}"/>
                </a:ext>
              </a:extLst>
            </p:cNvPr>
            <p:cNvCxnSpPr/>
            <p:nvPr userDrawn="1"/>
          </p:nvCxnSpPr>
          <p:spPr bwMode="black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6CFC690-A932-420E-8641-E0D4F1D14F71}"/>
                </a:ext>
              </a:extLst>
            </p:cNvPr>
            <p:cNvCxnSpPr/>
            <p:nvPr userDrawn="1"/>
          </p:nvCxnSpPr>
          <p:spPr bwMode="black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981262C0-EBF5-4D95-9E2E-78B7BE1D5F8F}"/>
                </a:ext>
              </a:extLst>
            </p:cNvPr>
            <p:cNvCxnSpPr/>
            <p:nvPr userDrawn="1"/>
          </p:nvCxnSpPr>
          <p:spPr bwMode="black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72412145-9F02-45F4-8A1F-4109B09DA77F}"/>
                </a:ext>
              </a:extLst>
            </p:cNvPr>
            <p:cNvCxnSpPr/>
            <p:nvPr userDrawn="1"/>
          </p:nvCxnSpPr>
          <p:spPr bwMode="black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4EFB458C-651C-47B0-830C-DFC18029EB15}"/>
                </a:ext>
              </a:extLst>
            </p:cNvPr>
            <p:cNvCxnSpPr/>
            <p:nvPr userDrawn="1"/>
          </p:nvCxnSpPr>
          <p:spPr bwMode="black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275A12CE-1B9C-467B-A41F-63B02D949AF6}"/>
                </a:ext>
              </a:extLst>
            </p:cNvPr>
            <p:cNvCxnSpPr/>
            <p:nvPr userDrawn="1"/>
          </p:nvCxnSpPr>
          <p:spPr bwMode="black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E166A7E-724C-41B9-B1E3-C18068EECF0D}"/>
                </a:ext>
              </a:extLst>
            </p:cNvPr>
            <p:cNvCxnSpPr/>
            <p:nvPr userDrawn="1"/>
          </p:nvCxnSpPr>
          <p:spPr bwMode="black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A628A8A-2AC5-47F3-84EC-7B44237EC8C4}"/>
                </a:ext>
              </a:extLst>
            </p:cNvPr>
            <p:cNvCxnSpPr/>
            <p:nvPr userDrawn="1"/>
          </p:nvCxnSpPr>
          <p:spPr bwMode="black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B89EEAE6-AB58-4DA0-97B7-5ED0B4FB66F7}"/>
                </a:ext>
              </a:extLst>
            </p:cNvPr>
            <p:cNvCxnSpPr/>
            <p:nvPr userDrawn="1"/>
          </p:nvCxnSpPr>
          <p:spPr bwMode="black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9973091C-4F57-45F5-9278-A5495574B244}"/>
                </a:ext>
              </a:extLst>
            </p:cNvPr>
            <p:cNvCxnSpPr/>
            <p:nvPr userDrawn="1"/>
          </p:nvCxnSpPr>
          <p:spPr bwMode="black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013782DF-D3CE-43BC-B089-7657B3CC9E4F}"/>
                </a:ext>
              </a:extLst>
            </p:cNvPr>
            <p:cNvCxnSpPr/>
            <p:nvPr userDrawn="1"/>
          </p:nvCxnSpPr>
          <p:spPr bwMode="black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40E03DB-D3B5-4ED2-94F1-18B05EF36E60}"/>
                </a:ext>
              </a:extLst>
            </p:cNvPr>
            <p:cNvCxnSpPr/>
            <p:nvPr userDrawn="1"/>
          </p:nvCxnSpPr>
          <p:spPr bwMode="black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283FFB0A-CBFF-4BBE-BC87-0A2AF4284576}"/>
                </a:ext>
              </a:extLst>
            </p:cNvPr>
            <p:cNvCxnSpPr/>
            <p:nvPr userDrawn="1"/>
          </p:nvCxnSpPr>
          <p:spPr bwMode="black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D5A634C-FA6D-4F49-AAD5-BBCE990D4748}"/>
                </a:ext>
              </a:extLst>
            </p:cNvPr>
            <p:cNvCxnSpPr/>
            <p:nvPr userDrawn="1"/>
          </p:nvCxnSpPr>
          <p:spPr bwMode="black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205ED71-0851-4E0C-A163-BC3D3039E671}"/>
                </a:ext>
              </a:extLst>
            </p:cNvPr>
            <p:cNvCxnSpPr/>
            <p:nvPr userDrawn="1"/>
          </p:nvCxnSpPr>
          <p:spPr bwMode="black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715526AD-CEE9-474C-A9A5-D49A5346A930}"/>
                </a:ext>
              </a:extLst>
            </p:cNvPr>
            <p:cNvCxnSpPr/>
            <p:nvPr userDrawn="1"/>
          </p:nvCxnSpPr>
          <p:spPr bwMode="black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7BD9B20-C7BC-413A-A578-C3FF8BEBBDC0}"/>
                </a:ext>
              </a:extLst>
            </p:cNvPr>
            <p:cNvCxnSpPr/>
            <p:nvPr userDrawn="1"/>
          </p:nvCxnSpPr>
          <p:spPr bwMode="black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A981CE9B-6327-4D32-B970-04D7EC41EE89}"/>
                </a:ext>
              </a:extLst>
            </p:cNvPr>
            <p:cNvCxnSpPr/>
            <p:nvPr userDrawn="1"/>
          </p:nvCxnSpPr>
          <p:spPr bwMode="black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E8F3FFC1-0364-4801-813A-54371A2C43DA}"/>
                </a:ext>
              </a:extLst>
            </p:cNvPr>
            <p:cNvCxnSpPr/>
            <p:nvPr userDrawn="1"/>
          </p:nvCxnSpPr>
          <p:spPr bwMode="black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5606A9C3-FEED-4F52-B442-5009E3F7B54C}"/>
                </a:ext>
              </a:extLst>
            </p:cNvPr>
            <p:cNvCxnSpPr/>
            <p:nvPr userDrawn="1"/>
          </p:nvCxnSpPr>
          <p:spPr bwMode="black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9DAE2C86-BAE6-47A1-94B1-327465587DE7}"/>
                </a:ext>
              </a:extLst>
            </p:cNvPr>
            <p:cNvCxnSpPr/>
            <p:nvPr userDrawn="1"/>
          </p:nvCxnSpPr>
          <p:spPr bwMode="black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9686103-ADA6-4E1A-817A-E71466AE209B}"/>
                </a:ext>
              </a:extLst>
            </p:cNvPr>
            <p:cNvCxnSpPr/>
            <p:nvPr userDrawn="1"/>
          </p:nvCxnSpPr>
          <p:spPr bwMode="black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BD273DE-C35C-4DA9-96B1-DDB7F800252C}"/>
                </a:ext>
              </a:extLst>
            </p:cNvPr>
            <p:cNvCxnSpPr/>
            <p:nvPr userDrawn="1"/>
          </p:nvCxnSpPr>
          <p:spPr bwMode="black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9A7DF1D-083E-42BB-91EA-4E30FEA625A2}"/>
                </a:ext>
              </a:extLst>
            </p:cNvPr>
            <p:cNvCxnSpPr/>
            <p:nvPr userDrawn="1"/>
          </p:nvCxnSpPr>
          <p:spPr bwMode="black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2D0D1604-79C2-46BE-9905-D864D0ECFE20}"/>
                </a:ext>
              </a:extLst>
            </p:cNvPr>
            <p:cNvCxnSpPr/>
            <p:nvPr userDrawn="1"/>
          </p:nvCxnSpPr>
          <p:spPr bwMode="black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B7B9FA60-E80E-4FE7-BB67-028805A248EE}"/>
                </a:ext>
              </a:extLst>
            </p:cNvPr>
            <p:cNvCxnSpPr/>
            <p:nvPr userDrawn="1"/>
          </p:nvCxnSpPr>
          <p:spPr bwMode="black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102F5688-0147-4CC6-8FB3-67034979720D}"/>
                </a:ext>
              </a:extLst>
            </p:cNvPr>
            <p:cNvCxnSpPr/>
            <p:nvPr userDrawn="1"/>
          </p:nvCxnSpPr>
          <p:spPr bwMode="black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main body box">
              <a:extLst>
                <a:ext uri="{FF2B5EF4-FFF2-40B4-BE49-F238E27FC236}">
                  <a16:creationId xmlns:a16="http://schemas.microsoft.com/office/drawing/2014/main" id="{3AB62359-B582-4196-8266-DC8ADBA988F4}"/>
                </a:ext>
              </a:extLst>
            </p:cNvPr>
            <p:cNvSpPr/>
            <p:nvPr userDrawn="1"/>
          </p:nvSpPr>
          <p:spPr bwMode="black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3D738849-8295-4057-B044-0B0E80C1C3DA}"/>
                </a:ext>
              </a:extLst>
            </p:cNvPr>
            <p:cNvCxnSpPr/>
            <p:nvPr userDrawn="1"/>
          </p:nvCxnSpPr>
          <p:spPr bwMode="black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81361245-226A-4BA1-8B7C-025011F07E2A}"/>
                </a:ext>
              </a:extLst>
            </p:cNvPr>
            <p:cNvCxnSpPr/>
            <p:nvPr userDrawn="1"/>
          </p:nvCxnSpPr>
          <p:spPr bwMode="black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3" name="Sticker" hidden="1">
            <a:extLst>
              <a:ext uri="{FF2B5EF4-FFF2-40B4-BE49-F238E27FC236}">
                <a16:creationId xmlns:a16="http://schemas.microsoft.com/office/drawing/2014/main" id="{F4B31D41-9E38-4C47-B14A-953F41CF2048}"/>
              </a:ext>
            </a:extLst>
          </p:cNvPr>
          <p:cNvSpPr txBox="1"/>
          <p:nvPr userDrawn="1"/>
        </p:nvSpPr>
        <p:spPr>
          <a:xfrm>
            <a:off x="416052" y="834828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55" name="ACET" hidden="1">
            <a:extLst>
              <a:ext uri="{FF2B5EF4-FFF2-40B4-BE49-F238E27FC236}">
                <a16:creationId xmlns:a16="http://schemas.microsoft.com/office/drawing/2014/main" id="{6FC9F96D-D74F-4064-BE66-104F69CCE92E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415925" y="2133599"/>
            <a:ext cx="3049253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400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2155825"/>
            <a:ext cx="2168863" cy="143372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2" name="LegendBoxes" hidden="1">
            <a:extLst>
              <a:ext uri="{FF2B5EF4-FFF2-40B4-BE49-F238E27FC236}">
                <a16:creationId xmlns:a16="http://schemas.microsoft.com/office/drawing/2014/main" id="{963CCBC6-05DA-41C5-8A26-02B4B8294556}"/>
              </a:ext>
            </a:extLst>
          </p:cNvPr>
          <p:cNvGrpSpPr/>
          <p:nvPr userDrawn="1"/>
        </p:nvGrpSpPr>
        <p:grpSpPr>
          <a:xfrm>
            <a:off x="7892047" y="4396889"/>
            <a:ext cx="835901" cy="1686504"/>
            <a:chOff x="7756825" y="4379430"/>
            <a:chExt cx="835901" cy="1686504"/>
          </a:xfrm>
        </p:grpSpPr>
        <p:sp>
          <p:nvSpPr>
            <p:cNvPr id="153" name="RectangleLegend1">
              <a:extLst>
                <a:ext uri="{FF2B5EF4-FFF2-40B4-BE49-F238E27FC236}">
                  <a16:creationId xmlns:a16="http://schemas.microsoft.com/office/drawing/2014/main" id="{658AC4E5-B9F1-4DD2-A80F-DAC539F6EDF1}"/>
                </a:ext>
              </a:extLst>
            </p:cNvPr>
            <p:cNvSpPr/>
            <p:nvPr/>
          </p:nvSpPr>
          <p:spPr>
            <a:xfrm>
              <a:off x="7756825" y="4385399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54" name="RectangleLegend2">
              <a:extLst>
                <a:ext uri="{FF2B5EF4-FFF2-40B4-BE49-F238E27FC236}">
                  <a16:creationId xmlns:a16="http://schemas.microsoft.com/office/drawing/2014/main" id="{B2384542-8C23-4E14-80D2-CA9F267323F0}"/>
                </a:ext>
              </a:extLst>
            </p:cNvPr>
            <p:cNvSpPr/>
            <p:nvPr/>
          </p:nvSpPr>
          <p:spPr>
            <a:xfrm>
              <a:off x="7756825" y="4764897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tangleLegend3">
              <a:extLst>
                <a:ext uri="{FF2B5EF4-FFF2-40B4-BE49-F238E27FC236}">
                  <a16:creationId xmlns:a16="http://schemas.microsoft.com/office/drawing/2014/main" id="{060EF611-D1B1-4A78-8D88-DC9E2B83640A}"/>
                </a:ext>
              </a:extLst>
            </p:cNvPr>
            <p:cNvSpPr/>
            <p:nvPr/>
          </p:nvSpPr>
          <p:spPr>
            <a:xfrm>
              <a:off x="7756825" y="5138493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5" name="RectangleLegend4">
              <a:extLst>
                <a:ext uri="{FF2B5EF4-FFF2-40B4-BE49-F238E27FC236}">
                  <a16:creationId xmlns:a16="http://schemas.microsoft.com/office/drawing/2014/main" id="{E1613226-3F7F-4C55-A6C0-DD8251B844E6}"/>
                </a:ext>
              </a:extLst>
            </p:cNvPr>
            <p:cNvSpPr/>
            <p:nvPr/>
          </p:nvSpPr>
          <p:spPr>
            <a:xfrm>
              <a:off x="7756825" y="5512089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tangleLegend5">
              <a:extLst>
                <a:ext uri="{FF2B5EF4-FFF2-40B4-BE49-F238E27FC236}">
                  <a16:creationId xmlns:a16="http://schemas.microsoft.com/office/drawing/2014/main" id="{5BE928B1-5A9D-43CB-BC80-2D1F93CC2F3C}"/>
                </a:ext>
              </a:extLst>
            </p:cNvPr>
            <p:cNvSpPr/>
            <p:nvPr/>
          </p:nvSpPr>
          <p:spPr>
            <a:xfrm>
              <a:off x="7756825" y="5885685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7" name="Legend1">
              <a:extLst>
                <a:ext uri="{FF2B5EF4-FFF2-40B4-BE49-F238E27FC236}">
                  <a16:creationId xmlns:a16="http://schemas.microsoft.com/office/drawing/2014/main" id="{588189A8-DB4B-43BF-B593-04C5DB541C53}"/>
                </a:ext>
              </a:extLst>
            </p:cNvPr>
            <p:cNvSpPr txBox="1"/>
            <p:nvPr/>
          </p:nvSpPr>
          <p:spPr>
            <a:xfrm>
              <a:off x="8082971" y="4379430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8" name="Legend2">
              <a:extLst>
                <a:ext uri="{FF2B5EF4-FFF2-40B4-BE49-F238E27FC236}">
                  <a16:creationId xmlns:a16="http://schemas.microsoft.com/office/drawing/2014/main" id="{BFD93A1F-3913-44CB-80B7-EFCD2B4BF5BC}"/>
                </a:ext>
              </a:extLst>
            </p:cNvPr>
            <p:cNvSpPr txBox="1"/>
            <p:nvPr/>
          </p:nvSpPr>
          <p:spPr>
            <a:xfrm>
              <a:off x="8082971" y="4758928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9" name="Legend3">
              <a:extLst>
                <a:ext uri="{FF2B5EF4-FFF2-40B4-BE49-F238E27FC236}">
                  <a16:creationId xmlns:a16="http://schemas.microsoft.com/office/drawing/2014/main" id="{F7B1D1E0-C2A5-481C-8640-41B469498D8D}"/>
                </a:ext>
              </a:extLst>
            </p:cNvPr>
            <p:cNvSpPr txBox="1"/>
            <p:nvPr/>
          </p:nvSpPr>
          <p:spPr>
            <a:xfrm>
              <a:off x="8082971" y="5138426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0" name="Legend4">
              <a:extLst>
                <a:ext uri="{FF2B5EF4-FFF2-40B4-BE49-F238E27FC236}">
                  <a16:creationId xmlns:a16="http://schemas.microsoft.com/office/drawing/2014/main" id="{C8DA0D60-61E4-4C36-A081-C71B9380B540}"/>
                </a:ext>
              </a:extLst>
            </p:cNvPr>
            <p:cNvSpPr txBox="1"/>
            <p:nvPr/>
          </p:nvSpPr>
          <p:spPr>
            <a:xfrm>
              <a:off x="8082971" y="5509847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1" name="Legend5">
              <a:extLst>
                <a:ext uri="{FF2B5EF4-FFF2-40B4-BE49-F238E27FC236}">
                  <a16:creationId xmlns:a16="http://schemas.microsoft.com/office/drawing/2014/main" id="{0642CA01-EC45-4B1C-8CC1-746C78F308A5}"/>
                </a:ext>
              </a:extLst>
            </p:cNvPr>
            <p:cNvSpPr txBox="1"/>
            <p:nvPr/>
          </p:nvSpPr>
          <p:spPr>
            <a:xfrm>
              <a:off x="8082970" y="5881268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</p:grpSp>
      <p:grpSp>
        <p:nvGrpSpPr>
          <p:cNvPr id="172" name="LegendLines" hidden="1">
            <a:extLst>
              <a:ext uri="{FF2B5EF4-FFF2-40B4-BE49-F238E27FC236}">
                <a16:creationId xmlns:a16="http://schemas.microsoft.com/office/drawing/2014/main" id="{F23A354F-6D61-4076-98CC-072D54F2B9B5}"/>
              </a:ext>
            </a:extLst>
          </p:cNvPr>
          <p:cNvGrpSpPr/>
          <p:nvPr userDrawn="1"/>
        </p:nvGrpSpPr>
        <p:grpSpPr>
          <a:xfrm>
            <a:off x="7601970" y="3237562"/>
            <a:ext cx="1125978" cy="927508"/>
            <a:chOff x="7495285" y="2250552"/>
            <a:chExt cx="1125978" cy="927508"/>
          </a:xfrm>
        </p:grpSpPr>
        <p:sp>
          <p:nvSpPr>
            <p:cNvPr id="173" name="Legend1">
              <a:extLst>
                <a:ext uri="{FF2B5EF4-FFF2-40B4-BE49-F238E27FC236}">
                  <a16:creationId xmlns:a16="http://schemas.microsoft.com/office/drawing/2014/main" id="{10E606C6-97CA-4FF0-A153-84CA4E8F414F}"/>
                </a:ext>
              </a:extLst>
            </p:cNvPr>
            <p:cNvSpPr txBox="1"/>
            <p:nvPr/>
          </p:nvSpPr>
          <p:spPr>
            <a:xfrm>
              <a:off x="8111508" y="2250552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4" name="Legend2">
              <a:extLst>
                <a:ext uri="{FF2B5EF4-FFF2-40B4-BE49-F238E27FC236}">
                  <a16:creationId xmlns:a16="http://schemas.microsoft.com/office/drawing/2014/main" id="{5F43CABA-AFC6-491E-A7D7-B466654F525D}"/>
                </a:ext>
              </a:extLst>
            </p:cNvPr>
            <p:cNvSpPr txBox="1"/>
            <p:nvPr/>
          </p:nvSpPr>
          <p:spPr>
            <a:xfrm>
              <a:off x="8111508" y="262197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5" name="Legend3">
              <a:extLst>
                <a:ext uri="{FF2B5EF4-FFF2-40B4-BE49-F238E27FC236}">
                  <a16:creationId xmlns:a16="http://schemas.microsoft.com/office/drawing/2014/main" id="{DA7660EB-4D51-4982-8372-6E58C50CDE5E}"/>
                </a:ext>
              </a:extLst>
            </p:cNvPr>
            <p:cNvSpPr txBox="1"/>
            <p:nvPr/>
          </p:nvSpPr>
          <p:spPr>
            <a:xfrm>
              <a:off x="8111508" y="2993394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6" name="LineLegend3">
              <a:extLst>
                <a:ext uri="{FF2B5EF4-FFF2-40B4-BE49-F238E27FC236}">
                  <a16:creationId xmlns:a16="http://schemas.microsoft.com/office/drawing/2014/main" id="{966C354A-0204-46EB-8E36-0146C3FD31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3084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7" name="LineLegend2">
              <a:extLst>
                <a:ext uri="{FF2B5EF4-FFF2-40B4-BE49-F238E27FC236}">
                  <a16:creationId xmlns:a16="http://schemas.microsoft.com/office/drawing/2014/main" id="{B87C293D-A7CD-4508-B0B1-2017113A58A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710816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8" name="LineLegend1">
              <a:extLst>
                <a:ext uri="{FF2B5EF4-FFF2-40B4-BE49-F238E27FC236}">
                  <a16:creationId xmlns:a16="http://schemas.microsoft.com/office/drawing/2014/main" id="{4456FE58-0255-4DBB-92A8-6CC5F84B71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34288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</p:grpSp>
      <p:grpSp>
        <p:nvGrpSpPr>
          <p:cNvPr id="179" name="LegendMoons" hidden="1">
            <a:extLst>
              <a:ext uri="{FF2B5EF4-FFF2-40B4-BE49-F238E27FC236}">
                <a16:creationId xmlns:a16="http://schemas.microsoft.com/office/drawing/2014/main" id="{70A0319B-8EBB-4F65-9A96-1B1BB35625B1}"/>
              </a:ext>
            </a:extLst>
          </p:cNvPr>
          <p:cNvGrpSpPr/>
          <p:nvPr userDrawn="1"/>
        </p:nvGrpSpPr>
        <p:grpSpPr>
          <a:xfrm>
            <a:off x="7865561" y="1289273"/>
            <a:ext cx="862387" cy="1731859"/>
            <a:chOff x="7723680" y="1702457"/>
            <a:chExt cx="862387" cy="1731859"/>
          </a:xfrm>
        </p:grpSpPr>
        <p:sp>
          <p:nvSpPr>
            <p:cNvPr id="201" name="Legend1">
              <a:extLst>
                <a:ext uri="{FF2B5EF4-FFF2-40B4-BE49-F238E27FC236}">
                  <a16:creationId xmlns:a16="http://schemas.microsoft.com/office/drawing/2014/main" id="{49BB8121-D802-4602-ABD0-B61681B018F3}"/>
                </a:ext>
              </a:extLst>
            </p:cNvPr>
            <p:cNvSpPr txBox="1"/>
            <p:nvPr/>
          </p:nvSpPr>
          <p:spPr>
            <a:xfrm>
              <a:off x="8076312" y="1725205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2" name="Legend2">
              <a:extLst>
                <a:ext uri="{FF2B5EF4-FFF2-40B4-BE49-F238E27FC236}">
                  <a16:creationId xmlns:a16="http://schemas.microsoft.com/office/drawing/2014/main" id="{5EBAE2BA-95BE-43BE-ADD2-84B42D0356EE}"/>
                </a:ext>
              </a:extLst>
            </p:cNvPr>
            <p:cNvSpPr txBox="1"/>
            <p:nvPr/>
          </p:nvSpPr>
          <p:spPr>
            <a:xfrm>
              <a:off x="8076312" y="2100664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3" name="Legend3">
              <a:extLst>
                <a:ext uri="{FF2B5EF4-FFF2-40B4-BE49-F238E27FC236}">
                  <a16:creationId xmlns:a16="http://schemas.microsoft.com/office/drawing/2014/main" id="{F96B8EA8-EAE8-4395-BA9F-6F1303EA348F}"/>
                </a:ext>
              </a:extLst>
            </p:cNvPr>
            <p:cNvSpPr txBox="1"/>
            <p:nvPr/>
          </p:nvSpPr>
          <p:spPr>
            <a:xfrm>
              <a:off x="8076312" y="247612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4" name="Legend4">
              <a:extLst>
                <a:ext uri="{FF2B5EF4-FFF2-40B4-BE49-F238E27FC236}">
                  <a16:creationId xmlns:a16="http://schemas.microsoft.com/office/drawing/2014/main" id="{BE4110F2-0F5F-4468-93FA-59E84FEB9E4A}"/>
                </a:ext>
              </a:extLst>
            </p:cNvPr>
            <p:cNvSpPr txBox="1"/>
            <p:nvPr/>
          </p:nvSpPr>
          <p:spPr>
            <a:xfrm>
              <a:off x="8076312" y="2851582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5" name="Legend5">
              <a:extLst>
                <a:ext uri="{FF2B5EF4-FFF2-40B4-BE49-F238E27FC236}">
                  <a16:creationId xmlns:a16="http://schemas.microsoft.com/office/drawing/2014/main" id="{E16B28D1-13B2-4F91-8123-CC4749412D3B}"/>
                </a:ext>
              </a:extLst>
            </p:cNvPr>
            <p:cNvSpPr txBox="1"/>
            <p:nvPr/>
          </p:nvSpPr>
          <p:spPr>
            <a:xfrm>
              <a:off x="8076312" y="322704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grpSp>
          <p:nvGrpSpPr>
            <p:cNvPr id="206" name="MoonLegend1">
              <a:extLst>
                <a:ext uri="{FF2B5EF4-FFF2-40B4-BE49-F238E27FC236}">
                  <a16:creationId xmlns:a16="http://schemas.microsoft.com/office/drawing/2014/main" id="{A16FD1F9-C160-4C4C-BAF6-716DDB869224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5282EEB0-B664-439C-B943-F7BB43CCAC0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68D40D9B-9DF0-4077-8151-E93B0977AD04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7" name="MoonLegend2">
              <a:extLst>
                <a:ext uri="{FF2B5EF4-FFF2-40B4-BE49-F238E27FC236}">
                  <a16:creationId xmlns:a16="http://schemas.microsoft.com/office/drawing/2014/main" id="{F9F241E8-6251-451F-9BE9-2C8D83F44D6B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578B0A0D-F30C-40C1-A9C4-EB63E6138F46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87395151-2586-43D8-B836-6324CB40789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8" name="MoonLegend3">
              <a:extLst>
                <a:ext uri="{FF2B5EF4-FFF2-40B4-BE49-F238E27FC236}">
                  <a16:creationId xmlns:a16="http://schemas.microsoft.com/office/drawing/2014/main" id="{B66D3648-DE5A-4E5C-8578-141D178A4ADB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D2DC89B-E4DB-4EBC-B12A-607EB3C23DE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50301F1B-4914-4337-B892-733925FD1C5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9" name="MoonLegend4">
              <a:extLst>
                <a:ext uri="{FF2B5EF4-FFF2-40B4-BE49-F238E27FC236}">
                  <a16:creationId xmlns:a16="http://schemas.microsoft.com/office/drawing/2014/main" id="{69C2ABAA-7291-4A19-A40B-3990AB445B9A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B9D4D141-7E0B-42D0-994A-D8212F69EE2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>
                <a:extLst>
                  <a:ext uri="{FF2B5EF4-FFF2-40B4-BE49-F238E27FC236}">
                    <a16:creationId xmlns:a16="http://schemas.microsoft.com/office/drawing/2014/main" id="{397EC893-9249-44CD-982F-F7F0B99DFCA8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10" name="MoonLegend5">
              <a:extLst>
                <a:ext uri="{FF2B5EF4-FFF2-40B4-BE49-F238E27FC236}">
                  <a16:creationId xmlns:a16="http://schemas.microsoft.com/office/drawing/2014/main" id="{CDCE6D47-F48F-4497-BD5A-E92F724CEE3D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E8E291C3-4BCA-406E-8B9A-6A354B83EF5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>
                <a:extLst>
                  <a:ext uri="{FF2B5EF4-FFF2-40B4-BE49-F238E27FC236}">
                    <a16:creationId xmlns:a16="http://schemas.microsoft.com/office/drawing/2014/main" id="{4C9C4DC9-D1E5-45F3-943E-09B75E72EE8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</p:grpSp>
      <p:sp>
        <p:nvSpPr>
          <p:cNvPr id="141" name="Documenttype">
            <a:extLst>
              <a:ext uri="{FF2B5EF4-FFF2-40B4-BE49-F238E27FC236}">
                <a16:creationId xmlns:a16="http://schemas.microsoft.com/office/drawing/2014/main" id="{29A17418-B99F-4330-B927-CCF962E4661F}"/>
              </a:ext>
            </a:extLst>
          </p:cNvPr>
          <p:cNvSpPr txBox="1">
            <a:spLocks/>
          </p:cNvSpPr>
          <p:nvPr userDrawn="1">
            <p:custDataLst>
              <p:tags r:id="rId26"/>
            </p:custDataLst>
          </p:nvPr>
        </p:nvSpPr>
        <p:spPr>
          <a:xfrm>
            <a:off x="412114" y="6419762"/>
            <a:ext cx="2871621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58FB3693-AC27-4699-841D-4547D247D81A}"/>
              </a:ext>
            </a:extLst>
          </p:cNvPr>
          <p:cNvSpPr txBox="1"/>
          <p:nvPr userDrawn="1"/>
        </p:nvSpPr>
        <p:spPr>
          <a:xfrm>
            <a:off x="7271296" y="6570762"/>
            <a:ext cx="65" cy="15388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48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  <p:sldLayoutId id="2147483992" r:id="rId11"/>
    <p:sldLayoutId id="2147483993" r:id="rId12"/>
    <p:sldLayoutId id="2147483994" r:id="rId13"/>
    <p:sldLayoutId id="2147483995" r:id="rId14"/>
    <p:sldLayoutId id="2147483996" r:id="rId15"/>
    <p:sldLayoutId id="2147483997" r:id="rId16"/>
    <p:sldLayoutId id="2147483998" r:id="rId17"/>
  </p:sldLayoutIdLst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lang="en-US" sz="22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5497">
          <p15:clr>
            <a:srgbClr val="F26B43"/>
          </p15:clr>
        </p15:guide>
        <p15:guide id="6" pos="259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8963AA3D-EFA3-4938-9D41-C8DDC03F7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62179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284" name="think-cell Slide" r:id="rId38" imgW="572" imgH="588" progId="TCLayout.ActiveDocument.1">
                  <p:embed/>
                </p:oleObj>
              </mc:Choice>
              <mc:Fallback>
                <p:oleObj name="think-cell Slide" r:id="rId38" imgW="572" imgH="58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8963AA3D-EFA3-4938-9D41-C8DDC03F7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 hidden="1">
            <a:extLst>
              <a:ext uri="{FF2B5EF4-FFF2-40B4-BE49-F238E27FC236}">
                <a16:creationId xmlns:a16="http://schemas.microsoft.com/office/drawing/2014/main" id="{C4A855FC-965A-4859-83A9-629E80C693BF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2" name="4. Footnote" hidden="1">
            <a:extLst>
              <a:ext uri="{FF2B5EF4-FFF2-40B4-BE49-F238E27FC236}">
                <a16:creationId xmlns:a16="http://schemas.microsoft.com/office/drawing/2014/main" id="{06E07A66-B8BA-42E8-A0F6-6B0251CAA48E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1480" y="6274554"/>
            <a:ext cx="831189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BAD3E984-2EF2-43CD-BB0E-16A737B99040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416052" y="173736"/>
            <a:ext cx="8311896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3" name="Grid" hidden="1">
            <a:extLst>
              <a:ext uri="{FF2B5EF4-FFF2-40B4-BE49-F238E27FC236}">
                <a16:creationId xmlns:a16="http://schemas.microsoft.com/office/drawing/2014/main" id="{564EB9F6-AC04-42ED-9CB6-6D01335D9982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 bwMode="blackGray">
          <a:xfrm>
            <a:off x="1" y="0"/>
            <a:ext cx="9142857" cy="6858000"/>
            <a:chOff x="0" y="0"/>
            <a:chExt cx="12190476" cy="6858000"/>
          </a:xfrm>
        </p:grpSpPr>
        <p:sp>
          <p:nvSpPr>
            <p:cNvPr id="55" name="slide margin">
              <a:extLst>
                <a:ext uri="{FF2B5EF4-FFF2-40B4-BE49-F238E27FC236}">
                  <a16:creationId xmlns:a16="http://schemas.microsoft.com/office/drawing/2014/main" id="{F5DBB269-56D9-4200-9112-12E14BA26FC3}"/>
                </a:ext>
              </a:extLst>
            </p:cNvPr>
            <p:cNvSpPr/>
            <p:nvPr/>
          </p:nvSpPr>
          <p:spPr bwMode="black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7A4F8EE-DD16-44D6-8659-4BC61E1C4968}"/>
                </a:ext>
              </a:extLst>
            </p:cNvPr>
            <p:cNvCxnSpPr/>
            <p:nvPr/>
          </p:nvCxnSpPr>
          <p:spPr bwMode="black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A20FAAC0-CCE6-4BC5-A835-E805E4CFE84B}"/>
                </a:ext>
              </a:extLst>
            </p:cNvPr>
            <p:cNvCxnSpPr/>
            <p:nvPr/>
          </p:nvCxnSpPr>
          <p:spPr bwMode="black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CE62967-F8DD-442A-A2C7-5EC8AB9FE8CE}"/>
                </a:ext>
              </a:extLst>
            </p:cNvPr>
            <p:cNvCxnSpPr/>
            <p:nvPr/>
          </p:nvCxnSpPr>
          <p:spPr bwMode="black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D8E0C4-F713-47B9-9258-FCC3EF4AC2D3}"/>
                </a:ext>
              </a:extLst>
            </p:cNvPr>
            <p:cNvCxnSpPr/>
            <p:nvPr/>
          </p:nvCxnSpPr>
          <p:spPr bwMode="black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9209D019-80C7-44F7-B340-FDC6CF76FDFE}"/>
                </a:ext>
              </a:extLst>
            </p:cNvPr>
            <p:cNvCxnSpPr/>
            <p:nvPr/>
          </p:nvCxnSpPr>
          <p:spPr bwMode="black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B6FCE71-887F-4F0B-ACCD-6CFCD13E12A8}"/>
                </a:ext>
              </a:extLst>
            </p:cNvPr>
            <p:cNvCxnSpPr/>
            <p:nvPr/>
          </p:nvCxnSpPr>
          <p:spPr bwMode="black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25852E5-79E9-4D30-89F2-E8E3C7A8A8D3}"/>
                </a:ext>
              </a:extLst>
            </p:cNvPr>
            <p:cNvCxnSpPr/>
            <p:nvPr/>
          </p:nvCxnSpPr>
          <p:spPr bwMode="black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1894E67-6006-4C83-BBB3-824E5C6CAE33}"/>
                </a:ext>
              </a:extLst>
            </p:cNvPr>
            <p:cNvCxnSpPr/>
            <p:nvPr/>
          </p:nvCxnSpPr>
          <p:spPr bwMode="black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8B05A6-707C-49A0-B29E-A54224F6D77E}"/>
                </a:ext>
              </a:extLst>
            </p:cNvPr>
            <p:cNvCxnSpPr/>
            <p:nvPr/>
          </p:nvCxnSpPr>
          <p:spPr bwMode="black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6D036E9-E68E-45AC-88B1-3889BA9AC140}"/>
                </a:ext>
              </a:extLst>
            </p:cNvPr>
            <p:cNvCxnSpPr/>
            <p:nvPr/>
          </p:nvCxnSpPr>
          <p:spPr bwMode="black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228A5C01-418B-415F-ACE4-12657A25C674}"/>
                </a:ext>
              </a:extLst>
            </p:cNvPr>
            <p:cNvCxnSpPr/>
            <p:nvPr/>
          </p:nvCxnSpPr>
          <p:spPr bwMode="black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CD3EFBD-902E-4760-89FE-386EC5FAB5DD}"/>
                </a:ext>
              </a:extLst>
            </p:cNvPr>
            <p:cNvCxnSpPr/>
            <p:nvPr/>
          </p:nvCxnSpPr>
          <p:spPr bwMode="black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6E80E37-4393-4509-A7F8-81796082DBE6}"/>
                </a:ext>
              </a:extLst>
            </p:cNvPr>
            <p:cNvSpPr/>
            <p:nvPr/>
          </p:nvSpPr>
          <p:spPr bwMode="black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8B6547D-77F2-421A-BE02-C2FE626088A2}"/>
                </a:ext>
              </a:extLst>
            </p:cNvPr>
            <p:cNvSpPr/>
            <p:nvPr/>
          </p:nvSpPr>
          <p:spPr bwMode="black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3092C087-1CB5-40EB-AAE7-4F62179E5B3D}"/>
                </a:ext>
              </a:extLst>
            </p:cNvPr>
            <p:cNvSpPr/>
            <p:nvPr/>
          </p:nvSpPr>
          <p:spPr bwMode="black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70C581B-2D28-48E7-9BF1-F773AD6A082F}"/>
                </a:ext>
              </a:extLst>
            </p:cNvPr>
            <p:cNvSpPr/>
            <p:nvPr/>
          </p:nvSpPr>
          <p:spPr bwMode="black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05DE51E3-D897-4994-9418-E8C2DE782A3A}"/>
                </a:ext>
              </a:extLst>
            </p:cNvPr>
            <p:cNvSpPr/>
            <p:nvPr/>
          </p:nvSpPr>
          <p:spPr bwMode="black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D9B6F9F-FA16-4594-8B72-43FF5F17F7FC}"/>
                </a:ext>
              </a:extLst>
            </p:cNvPr>
            <p:cNvSpPr/>
            <p:nvPr/>
          </p:nvSpPr>
          <p:spPr bwMode="black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21EA58F-1F84-493C-ACF6-F9FACAF48256}"/>
                </a:ext>
              </a:extLst>
            </p:cNvPr>
            <p:cNvSpPr/>
            <p:nvPr/>
          </p:nvSpPr>
          <p:spPr bwMode="black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08E60CB-D491-446F-999C-C54AA89B3EC2}"/>
                </a:ext>
              </a:extLst>
            </p:cNvPr>
            <p:cNvSpPr/>
            <p:nvPr/>
          </p:nvSpPr>
          <p:spPr bwMode="black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A798CCB-595D-477E-BB68-277026AE1F58}"/>
                </a:ext>
              </a:extLst>
            </p:cNvPr>
            <p:cNvSpPr/>
            <p:nvPr/>
          </p:nvSpPr>
          <p:spPr bwMode="black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DE4A3B3-1B25-4F73-AFB0-BC5117472C58}"/>
                </a:ext>
              </a:extLst>
            </p:cNvPr>
            <p:cNvSpPr/>
            <p:nvPr/>
          </p:nvSpPr>
          <p:spPr bwMode="black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B244C56-8768-49BE-9C5F-39DC27091866}"/>
                </a:ext>
              </a:extLst>
            </p:cNvPr>
            <p:cNvSpPr/>
            <p:nvPr/>
          </p:nvSpPr>
          <p:spPr bwMode="black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FF016B4B-663C-4A99-BA16-526587A98E3A}"/>
                </a:ext>
              </a:extLst>
            </p:cNvPr>
            <p:cNvSpPr/>
            <p:nvPr/>
          </p:nvSpPr>
          <p:spPr bwMode="black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0EE0782-4BFF-4C76-83A4-65CB2A78CF86}"/>
                </a:ext>
              </a:extLst>
            </p:cNvPr>
            <p:cNvSpPr/>
            <p:nvPr/>
          </p:nvSpPr>
          <p:spPr bwMode="black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922C003-5270-4D9A-ADCB-FBD0BCF17B75}"/>
                </a:ext>
              </a:extLst>
            </p:cNvPr>
            <p:cNvSpPr/>
            <p:nvPr/>
          </p:nvSpPr>
          <p:spPr bwMode="black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D711215-3D48-4B08-99DB-BE3939FDAC79}"/>
                </a:ext>
              </a:extLst>
            </p:cNvPr>
            <p:cNvSpPr/>
            <p:nvPr userDrawn="1"/>
          </p:nvSpPr>
          <p:spPr bwMode="black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DDFDFFA-F184-43C9-870C-DCF3B877593B}"/>
                </a:ext>
              </a:extLst>
            </p:cNvPr>
            <p:cNvSpPr/>
            <p:nvPr userDrawn="1"/>
          </p:nvSpPr>
          <p:spPr bwMode="black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7AD2D58-EC85-4919-86F2-00E85F906876}"/>
                </a:ext>
              </a:extLst>
            </p:cNvPr>
            <p:cNvSpPr/>
            <p:nvPr userDrawn="1"/>
          </p:nvSpPr>
          <p:spPr bwMode="black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01CF21A7-4535-4C57-8143-169D224ADC39}"/>
                </a:ext>
              </a:extLst>
            </p:cNvPr>
            <p:cNvSpPr/>
            <p:nvPr userDrawn="1"/>
          </p:nvSpPr>
          <p:spPr bwMode="black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56F035C-8FDC-45CE-B5B8-F8B4F5ACBC79}"/>
                </a:ext>
              </a:extLst>
            </p:cNvPr>
            <p:cNvSpPr/>
            <p:nvPr userDrawn="1"/>
          </p:nvSpPr>
          <p:spPr bwMode="black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D9B234A6-826A-413C-B931-D919E52A0719}"/>
                </a:ext>
              </a:extLst>
            </p:cNvPr>
            <p:cNvSpPr/>
            <p:nvPr userDrawn="1"/>
          </p:nvSpPr>
          <p:spPr bwMode="black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048B2BB-6FFB-4D27-96C7-176E63508A2B}"/>
                </a:ext>
              </a:extLst>
            </p:cNvPr>
            <p:cNvSpPr/>
            <p:nvPr userDrawn="1"/>
          </p:nvSpPr>
          <p:spPr bwMode="black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0F26DA9-CE5E-4276-B142-51E0AFC8EFF3}"/>
                </a:ext>
              </a:extLst>
            </p:cNvPr>
            <p:cNvSpPr/>
            <p:nvPr userDrawn="1"/>
          </p:nvSpPr>
          <p:spPr bwMode="black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EC25358-B7B6-4891-97D2-1B131FD58253}"/>
                </a:ext>
              </a:extLst>
            </p:cNvPr>
            <p:cNvSpPr/>
            <p:nvPr userDrawn="1"/>
          </p:nvSpPr>
          <p:spPr bwMode="black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F1D4F54-A5B6-4B8F-BA1C-9796B50D71E8}"/>
                </a:ext>
              </a:extLst>
            </p:cNvPr>
            <p:cNvSpPr/>
            <p:nvPr userDrawn="1"/>
          </p:nvSpPr>
          <p:spPr bwMode="black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D3E1AF58-F8BD-4C35-B17B-FF474AC07207}"/>
                </a:ext>
              </a:extLst>
            </p:cNvPr>
            <p:cNvSpPr/>
            <p:nvPr userDrawn="1"/>
          </p:nvSpPr>
          <p:spPr bwMode="black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F433238B-4167-4B9F-AD00-573B9904B268}"/>
                </a:ext>
              </a:extLst>
            </p:cNvPr>
            <p:cNvCxnSpPr/>
            <p:nvPr userDrawn="1"/>
          </p:nvCxnSpPr>
          <p:spPr bwMode="black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E9255B43-A6C1-44E1-AD76-0108E14CF1CF}"/>
                </a:ext>
              </a:extLst>
            </p:cNvPr>
            <p:cNvCxnSpPr/>
            <p:nvPr userDrawn="1"/>
          </p:nvCxnSpPr>
          <p:spPr bwMode="black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86976117-4103-48D7-A1A4-7B1F6EB39AF8}"/>
                </a:ext>
              </a:extLst>
            </p:cNvPr>
            <p:cNvCxnSpPr/>
            <p:nvPr userDrawn="1"/>
          </p:nvCxnSpPr>
          <p:spPr bwMode="black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AD237E79-C954-4F5C-9467-568C2B01D61D}"/>
                </a:ext>
              </a:extLst>
            </p:cNvPr>
            <p:cNvCxnSpPr/>
            <p:nvPr userDrawn="1"/>
          </p:nvCxnSpPr>
          <p:spPr bwMode="black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2C3CA5D-4381-498F-A12A-94E2357D48D3}"/>
                </a:ext>
              </a:extLst>
            </p:cNvPr>
            <p:cNvCxnSpPr/>
            <p:nvPr userDrawn="1"/>
          </p:nvCxnSpPr>
          <p:spPr bwMode="black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CA4E24DD-F3D4-4376-8AB6-A07DA4314FF3}"/>
                </a:ext>
              </a:extLst>
            </p:cNvPr>
            <p:cNvCxnSpPr/>
            <p:nvPr userDrawn="1"/>
          </p:nvCxnSpPr>
          <p:spPr bwMode="black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D5DC4754-8578-491E-A0FF-64F47384863A}"/>
                </a:ext>
              </a:extLst>
            </p:cNvPr>
            <p:cNvCxnSpPr/>
            <p:nvPr userDrawn="1"/>
          </p:nvCxnSpPr>
          <p:spPr bwMode="black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984F9AF-FC24-4244-B2B7-556836286B42}"/>
                </a:ext>
              </a:extLst>
            </p:cNvPr>
            <p:cNvCxnSpPr/>
            <p:nvPr userDrawn="1"/>
          </p:nvCxnSpPr>
          <p:spPr bwMode="black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BE39F50-755A-4A28-9262-956D50B5BDF8}"/>
                </a:ext>
              </a:extLst>
            </p:cNvPr>
            <p:cNvCxnSpPr/>
            <p:nvPr userDrawn="1"/>
          </p:nvCxnSpPr>
          <p:spPr bwMode="black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CFFE806D-C6EC-4A6A-A604-0951250AC780}"/>
                </a:ext>
              </a:extLst>
            </p:cNvPr>
            <p:cNvCxnSpPr/>
            <p:nvPr userDrawn="1"/>
          </p:nvCxnSpPr>
          <p:spPr bwMode="black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584ED4C1-CE4B-4983-BA97-346408DC67CE}"/>
                </a:ext>
              </a:extLst>
            </p:cNvPr>
            <p:cNvCxnSpPr/>
            <p:nvPr userDrawn="1"/>
          </p:nvCxnSpPr>
          <p:spPr bwMode="black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C71EB62-716E-4C9B-AF43-BD800A252535}"/>
                </a:ext>
              </a:extLst>
            </p:cNvPr>
            <p:cNvCxnSpPr/>
            <p:nvPr userDrawn="1"/>
          </p:nvCxnSpPr>
          <p:spPr bwMode="black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9D29CB2-8929-4A25-98AF-2BEB838CFADE}"/>
                </a:ext>
              </a:extLst>
            </p:cNvPr>
            <p:cNvCxnSpPr/>
            <p:nvPr userDrawn="1"/>
          </p:nvCxnSpPr>
          <p:spPr bwMode="black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555DD7-8F54-4055-98D9-803ECA4B000E}"/>
                </a:ext>
              </a:extLst>
            </p:cNvPr>
            <p:cNvCxnSpPr/>
            <p:nvPr userDrawn="1"/>
          </p:nvCxnSpPr>
          <p:spPr bwMode="black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B2A8ED3D-1604-4356-8E79-C73DF5C07F87}"/>
                </a:ext>
              </a:extLst>
            </p:cNvPr>
            <p:cNvCxnSpPr/>
            <p:nvPr userDrawn="1"/>
          </p:nvCxnSpPr>
          <p:spPr bwMode="black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59B3DA24-D2F6-4B96-A966-7778F0462788}"/>
                </a:ext>
              </a:extLst>
            </p:cNvPr>
            <p:cNvCxnSpPr/>
            <p:nvPr userDrawn="1"/>
          </p:nvCxnSpPr>
          <p:spPr bwMode="black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5B2BC198-E061-43B5-8B72-9AECD4EF674C}"/>
                </a:ext>
              </a:extLst>
            </p:cNvPr>
            <p:cNvCxnSpPr/>
            <p:nvPr userDrawn="1"/>
          </p:nvCxnSpPr>
          <p:spPr bwMode="black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CBD1AA7-CC60-49B9-AAED-95002306B6DB}"/>
                </a:ext>
              </a:extLst>
            </p:cNvPr>
            <p:cNvCxnSpPr/>
            <p:nvPr userDrawn="1"/>
          </p:nvCxnSpPr>
          <p:spPr bwMode="black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6CFC690-A932-420E-8641-E0D4F1D14F71}"/>
                </a:ext>
              </a:extLst>
            </p:cNvPr>
            <p:cNvCxnSpPr/>
            <p:nvPr userDrawn="1"/>
          </p:nvCxnSpPr>
          <p:spPr bwMode="black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981262C0-EBF5-4D95-9E2E-78B7BE1D5F8F}"/>
                </a:ext>
              </a:extLst>
            </p:cNvPr>
            <p:cNvCxnSpPr/>
            <p:nvPr userDrawn="1"/>
          </p:nvCxnSpPr>
          <p:spPr bwMode="black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72412145-9F02-45F4-8A1F-4109B09DA77F}"/>
                </a:ext>
              </a:extLst>
            </p:cNvPr>
            <p:cNvCxnSpPr/>
            <p:nvPr userDrawn="1"/>
          </p:nvCxnSpPr>
          <p:spPr bwMode="black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4EFB458C-651C-47B0-830C-DFC18029EB15}"/>
                </a:ext>
              </a:extLst>
            </p:cNvPr>
            <p:cNvCxnSpPr/>
            <p:nvPr userDrawn="1"/>
          </p:nvCxnSpPr>
          <p:spPr bwMode="black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275A12CE-1B9C-467B-A41F-63B02D949AF6}"/>
                </a:ext>
              </a:extLst>
            </p:cNvPr>
            <p:cNvCxnSpPr/>
            <p:nvPr userDrawn="1"/>
          </p:nvCxnSpPr>
          <p:spPr bwMode="black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E166A7E-724C-41B9-B1E3-C18068EECF0D}"/>
                </a:ext>
              </a:extLst>
            </p:cNvPr>
            <p:cNvCxnSpPr/>
            <p:nvPr userDrawn="1"/>
          </p:nvCxnSpPr>
          <p:spPr bwMode="black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A628A8A-2AC5-47F3-84EC-7B44237EC8C4}"/>
                </a:ext>
              </a:extLst>
            </p:cNvPr>
            <p:cNvCxnSpPr/>
            <p:nvPr userDrawn="1"/>
          </p:nvCxnSpPr>
          <p:spPr bwMode="black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B89EEAE6-AB58-4DA0-97B7-5ED0B4FB66F7}"/>
                </a:ext>
              </a:extLst>
            </p:cNvPr>
            <p:cNvCxnSpPr/>
            <p:nvPr userDrawn="1"/>
          </p:nvCxnSpPr>
          <p:spPr bwMode="black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9973091C-4F57-45F5-9278-A5495574B244}"/>
                </a:ext>
              </a:extLst>
            </p:cNvPr>
            <p:cNvCxnSpPr/>
            <p:nvPr userDrawn="1"/>
          </p:nvCxnSpPr>
          <p:spPr bwMode="black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013782DF-D3CE-43BC-B089-7657B3CC9E4F}"/>
                </a:ext>
              </a:extLst>
            </p:cNvPr>
            <p:cNvCxnSpPr/>
            <p:nvPr userDrawn="1"/>
          </p:nvCxnSpPr>
          <p:spPr bwMode="black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40E03DB-D3B5-4ED2-94F1-18B05EF36E60}"/>
                </a:ext>
              </a:extLst>
            </p:cNvPr>
            <p:cNvCxnSpPr/>
            <p:nvPr userDrawn="1"/>
          </p:nvCxnSpPr>
          <p:spPr bwMode="black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283FFB0A-CBFF-4BBE-BC87-0A2AF4284576}"/>
                </a:ext>
              </a:extLst>
            </p:cNvPr>
            <p:cNvCxnSpPr/>
            <p:nvPr userDrawn="1"/>
          </p:nvCxnSpPr>
          <p:spPr bwMode="black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D5A634C-FA6D-4F49-AAD5-BBCE990D4748}"/>
                </a:ext>
              </a:extLst>
            </p:cNvPr>
            <p:cNvCxnSpPr/>
            <p:nvPr userDrawn="1"/>
          </p:nvCxnSpPr>
          <p:spPr bwMode="black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205ED71-0851-4E0C-A163-BC3D3039E671}"/>
                </a:ext>
              </a:extLst>
            </p:cNvPr>
            <p:cNvCxnSpPr/>
            <p:nvPr userDrawn="1"/>
          </p:nvCxnSpPr>
          <p:spPr bwMode="black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715526AD-CEE9-474C-A9A5-D49A5346A930}"/>
                </a:ext>
              </a:extLst>
            </p:cNvPr>
            <p:cNvCxnSpPr/>
            <p:nvPr userDrawn="1"/>
          </p:nvCxnSpPr>
          <p:spPr bwMode="black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7BD9B20-C7BC-413A-A578-C3FF8BEBBDC0}"/>
                </a:ext>
              </a:extLst>
            </p:cNvPr>
            <p:cNvCxnSpPr/>
            <p:nvPr userDrawn="1"/>
          </p:nvCxnSpPr>
          <p:spPr bwMode="black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A981CE9B-6327-4D32-B970-04D7EC41EE89}"/>
                </a:ext>
              </a:extLst>
            </p:cNvPr>
            <p:cNvCxnSpPr/>
            <p:nvPr userDrawn="1"/>
          </p:nvCxnSpPr>
          <p:spPr bwMode="black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E8F3FFC1-0364-4801-813A-54371A2C43DA}"/>
                </a:ext>
              </a:extLst>
            </p:cNvPr>
            <p:cNvCxnSpPr/>
            <p:nvPr userDrawn="1"/>
          </p:nvCxnSpPr>
          <p:spPr bwMode="black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5606A9C3-FEED-4F52-B442-5009E3F7B54C}"/>
                </a:ext>
              </a:extLst>
            </p:cNvPr>
            <p:cNvCxnSpPr/>
            <p:nvPr userDrawn="1"/>
          </p:nvCxnSpPr>
          <p:spPr bwMode="black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9DAE2C86-BAE6-47A1-94B1-327465587DE7}"/>
                </a:ext>
              </a:extLst>
            </p:cNvPr>
            <p:cNvCxnSpPr/>
            <p:nvPr userDrawn="1"/>
          </p:nvCxnSpPr>
          <p:spPr bwMode="black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9686103-ADA6-4E1A-817A-E71466AE209B}"/>
                </a:ext>
              </a:extLst>
            </p:cNvPr>
            <p:cNvCxnSpPr/>
            <p:nvPr userDrawn="1"/>
          </p:nvCxnSpPr>
          <p:spPr bwMode="black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BD273DE-C35C-4DA9-96B1-DDB7F800252C}"/>
                </a:ext>
              </a:extLst>
            </p:cNvPr>
            <p:cNvCxnSpPr/>
            <p:nvPr userDrawn="1"/>
          </p:nvCxnSpPr>
          <p:spPr bwMode="black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9A7DF1D-083E-42BB-91EA-4E30FEA625A2}"/>
                </a:ext>
              </a:extLst>
            </p:cNvPr>
            <p:cNvCxnSpPr/>
            <p:nvPr userDrawn="1"/>
          </p:nvCxnSpPr>
          <p:spPr bwMode="black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2D0D1604-79C2-46BE-9905-D864D0ECFE20}"/>
                </a:ext>
              </a:extLst>
            </p:cNvPr>
            <p:cNvCxnSpPr/>
            <p:nvPr userDrawn="1"/>
          </p:nvCxnSpPr>
          <p:spPr bwMode="black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B7B9FA60-E80E-4FE7-BB67-028805A248EE}"/>
                </a:ext>
              </a:extLst>
            </p:cNvPr>
            <p:cNvCxnSpPr/>
            <p:nvPr userDrawn="1"/>
          </p:nvCxnSpPr>
          <p:spPr bwMode="black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102F5688-0147-4CC6-8FB3-67034979720D}"/>
                </a:ext>
              </a:extLst>
            </p:cNvPr>
            <p:cNvCxnSpPr/>
            <p:nvPr userDrawn="1"/>
          </p:nvCxnSpPr>
          <p:spPr bwMode="black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main body box">
              <a:extLst>
                <a:ext uri="{FF2B5EF4-FFF2-40B4-BE49-F238E27FC236}">
                  <a16:creationId xmlns:a16="http://schemas.microsoft.com/office/drawing/2014/main" id="{3AB62359-B582-4196-8266-DC8ADBA988F4}"/>
                </a:ext>
              </a:extLst>
            </p:cNvPr>
            <p:cNvSpPr/>
            <p:nvPr userDrawn="1"/>
          </p:nvSpPr>
          <p:spPr bwMode="black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3D738849-8295-4057-B044-0B0E80C1C3DA}"/>
                </a:ext>
              </a:extLst>
            </p:cNvPr>
            <p:cNvCxnSpPr/>
            <p:nvPr userDrawn="1"/>
          </p:nvCxnSpPr>
          <p:spPr bwMode="black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81361245-226A-4BA1-8B7C-025011F07E2A}"/>
                </a:ext>
              </a:extLst>
            </p:cNvPr>
            <p:cNvCxnSpPr/>
            <p:nvPr userDrawn="1"/>
          </p:nvCxnSpPr>
          <p:spPr bwMode="black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3" name="Sticker" hidden="1">
            <a:extLst>
              <a:ext uri="{FF2B5EF4-FFF2-40B4-BE49-F238E27FC236}">
                <a16:creationId xmlns:a16="http://schemas.microsoft.com/office/drawing/2014/main" id="{F4B31D41-9E38-4C47-B14A-953F41CF2048}"/>
              </a:ext>
            </a:extLst>
          </p:cNvPr>
          <p:cNvSpPr txBox="1"/>
          <p:nvPr userDrawn="1"/>
        </p:nvSpPr>
        <p:spPr>
          <a:xfrm>
            <a:off x="416052" y="834828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55" name="ACET" hidden="1">
            <a:extLst>
              <a:ext uri="{FF2B5EF4-FFF2-40B4-BE49-F238E27FC236}">
                <a16:creationId xmlns:a16="http://schemas.microsoft.com/office/drawing/2014/main" id="{6FC9F96D-D74F-4064-BE66-104F69CCE92E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15925" y="2133599"/>
            <a:ext cx="3049253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400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25" y="2155825"/>
            <a:ext cx="2168863" cy="143372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2" name="LegendBoxes" hidden="1">
            <a:extLst>
              <a:ext uri="{FF2B5EF4-FFF2-40B4-BE49-F238E27FC236}">
                <a16:creationId xmlns:a16="http://schemas.microsoft.com/office/drawing/2014/main" id="{963CCBC6-05DA-41C5-8A26-02B4B8294556}"/>
              </a:ext>
            </a:extLst>
          </p:cNvPr>
          <p:cNvGrpSpPr/>
          <p:nvPr userDrawn="1"/>
        </p:nvGrpSpPr>
        <p:grpSpPr>
          <a:xfrm>
            <a:off x="7892047" y="4396889"/>
            <a:ext cx="835901" cy="1686504"/>
            <a:chOff x="7756825" y="4379430"/>
            <a:chExt cx="835901" cy="1686504"/>
          </a:xfrm>
        </p:grpSpPr>
        <p:sp>
          <p:nvSpPr>
            <p:cNvPr id="153" name="RectangleLegend1">
              <a:extLst>
                <a:ext uri="{FF2B5EF4-FFF2-40B4-BE49-F238E27FC236}">
                  <a16:creationId xmlns:a16="http://schemas.microsoft.com/office/drawing/2014/main" id="{658AC4E5-B9F1-4DD2-A80F-DAC539F6EDF1}"/>
                </a:ext>
              </a:extLst>
            </p:cNvPr>
            <p:cNvSpPr/>
            <p:nvPr/>
          </p:nvSpPr>
          <p:spPr>
            <a:xfrm>
              <a:off x="7756825" y="4385399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54" name="RectangleLegend2">
              <a:extLst>
                <a:ext uri="{FF2B5EF4-FFF2-40B4-BE49-F238E27FC236}">
                  <a16:creationId xmlns:a16="http://schemas.microsoft.com/office/drawing/2014/main" id="{B2384542-8C23-4E14-80D2-CA9F267323F0}"/>
                </a:ext>
              </a:extLst>
            </p:cNvPr>
            <p:cNvSpPr/>
            <p:nvPr/>
          </p:nvSpPr>
          <p:spPr>
            <a:xfrm>
              <a:off x="7756825" y="4764897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tangleLegend3">
              <a:extLst>
                <a:ext uri="{FF2B5EF4-FFF2-40B4-BE49-F238E27FC236}">
                  <a16:creationId xmlns:a16="http://schemas.microsoft.com/office/drawing/2014/main" id="{060EF611-D1B1-4A78-8D88-DC9E2B83640A}"/>
                </a:ext>
              </a:extLst>
            </p:cNvPr>
            <p:cNvSpPr/>
            <p:nvPr/>
          </p:nvSpPr>
          <p:spPr>
            <a:xfrm>
              <a:off x="7756825" y="5138493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5" name="RectangleLegend4">
              <a:extLst>
                <a:ext uri="{FF2B5EF4-FFF2-40B4-BE49-F238E27FC236}">
                  <a16:creationId xmlns:a16="http://schemas.microsoft.com/office/drawing/2014/main" id="{E1613226-3F7F-4C55-A6C0-DD8251B844E6}"/>
                </a:ext>
              </a:extLst>
            </p:cNvPr>
            <p:cNvSpPr/>
            <p:nvPr/>
          </p:nvSpPr>
          <p:spPr>
            <a:xfrm>
              <a:off x="7756825" y="5512089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tangleLegend5">
              <a:extLst>
                <a:ext uri="{FF2B5EF4-FFF2-40B4-BE49-F238E27FC236}">
                  <a16:creationId xmlns:a16="http://schemas.microsoft.com/office/drawing/2014/main" id="{5BE928B1-5A9D-43CB-BC80-2D1F93CC2F3C}"/>
                </a:ext>
              </a:extLst>
            </p:cNvPr>
            <p:cNvSpPr/>
            <p:nvPr/>
          </p:nvSpPr>
          <p:spPr>
            <a:xfrm>
              <a:off x="7756825" y="5885685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7" name="Legend1">
              <a:extLst>
                <a:ext uri="{FF2B5EF4-FFF2-40B4-BE49-F238E27FC236}">
                  <a16:creationId xmlns:a16="http://schemas.microsoft.com/office/drawing/2014/main" id="{588189A8-DB4B-43BF-B593-04C5DB541C53}"/>
                </a:ext>
              </a:extLst>
            </p:cNvPr>
            <p:cNvSpPr txBox="1"/>
            <p:nvPr/>
          </p:nvSpPr>
          <p:spPr>
            <a:xfrm>
              <a:off x="8082971" y="4379430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8" name="Legend2">
              <a:extLst>
                <a:ext uri="{FF2B5EF4-FFF2-40B4-BE49-F238E27FC236}">
                  <a16:creationId xmlns:a16="http://schemas.microsoft.com/office/drawing/2014/main" id="{BFD93A1F-3913-44CB-80B7-EFCD2B4BF5BC}"/>
                </a:ext>
              </a:extLst>
            </p:cNvPr>
            <p:cNvSpPr txBox="1"/>
            <p:nvPr/>
          </p:nvSpPr>
          <p:spPr>
            <a:xfrm>
              <a:off x="8082971" y="4758928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9" name="Legend3">
              <a:extLst>
                <a:ext uri="{FF2B5EF4-FFF2-40B4-BE49-F238E27FC236}">
                  <a16:creationId xmlns:a16="http://schemas.microsoft.com/office/drawing/2014/main" id="{F7B1D1E0-C2A5-481C-8640-41B469498D8D}"/>
                </a:ext>
              </a:extLst>
            </p:cNvPr>
            <p:cNvSpPr txBox="1"/>
            <p:nvPr/>
          </p:nvSpPr>
          <p:spPr>
            <a:xfrm>
              <a:off x="8082971" y="5138426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0" name="Legend4">
              <a:extLst>
                <a:ext uri="{FF2B5EF4-FFF2-40B4-BE49-F238E27FC236}">
                  <a16:creationId xmlns:a16="http://schemas.microsoft.com/office/drawing/2014/main" id="{C8DA0D60-61E4-4C36-A081-C71B9380B540}"/>
                </a:ext>
              </a:extLst>
            </p:cNvPr>
            <p:cNvSpPr txBox="1"/>
            <p:nvPr/>
          </p:nvSpPr>
          <p:spPr>
            <a:xfrm>
              <a:off x="8082971" y="5509847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1" name="Legend5">
              <a:extLst>
                <a:ext uri="{FF2B5EF4-FFF2-40B4-BE49-F238E27FC236}">
                  <a16:creationId xmlns:a16="http://schemas.microsoft.com/office/drawing/2014/main" id="{0642CA01-EC45-4B1C-8CC1-746C78F308A5}"/>
                </a:ext>
              </a:extLst>
            </p:cNvPr>
            <p:cNvSpPr txBox="1"/>
            <p:nvPr/>
          </p:nvSpPr>
          <p:spPr>
            <a:xfrm>
              <a:off x="8082970" y="5881268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</p:grpSp>
      <p:grpSp>
        <p:nvGrpSpPr>
          <p:cNvPr id="172" name="LegendLines" hidden="1">
            <a:extLst>
              <a:ext uri="{FF2B5EF4-FFF2-40B4-BE49-F238E27FC236}">
                <a16:creationId xmlns:a16="http://schemas.microsoft.com/office/drawing/2014/main" id="{F23A354F-6D61-4076-98CC-072D54F2B9B5}"/>
              </a:ext>
            </a:extLst>
          </p:cNvPr>
          <p:cNvGrpSpPr/>
          <p:nvPr userDrawn="1"/>
        </p:nvGrpSpPr>
        <p:grpSpPr>
          <a:xfrm>
            <a:off x="7601970" y="3237562"/>
            <a:ext cx="1125978" cy="927508"/>
            <a:chOff x="7495285" y="2250552"/>
            <a:chExt cx="1125978" cy="927508"/>
          </a:xfrm>
        </p:grpSpPr>
        <p:sp>
          <p:nvSpPr>
            <p:cNvPr id="173" name="Legend1">
              <a:extLst>
                <a:ext uri="{FF2B5EF4-FFF2-40B4-BE49-F238E27FC236}">
                  <a16:creationId xmlns:a16="http://schemas.microsoft.com/office/drawing/2014/main" id="{10E606C6-97CA-4FF0-A153-84CA4E8F414F}"/>
                </a:ext>
              </a:extLst>
            </p:cNvPr>
            <p:cNvSpPr txBox="1"/>
            <p:nvPr/>
          </p:nvSpPr>
          <p:spPr>
            <a:xfrm>
              <a:off x="8111508" y="2250552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4" name="Legend2">
              <a:extLst>
                <a:ext uri="{FF2B5EF4-FFF2-40B4-BE49-F238E27FC236}">
                  <a16:creationId xmlns:a16="http://schemas.microsoft.com/office/drawing/2014/main" id="{5F43CABA-AFC6-491E-A7D7-B466654F525D}"/>
                </a:ext>
              </a:extLst>
            </p:cNvPr>
            <p:cNvSpPr txBox="1"/>
            <p:nvPr/>
          </p:nvSpPr>
          <p:spPr>
            <a:xfrm>
              <a:off x="8111508" y="262197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5" name="Legend3">
              <a:extLst>
                <a:ext uri="{FF2B5EF4-FFF2-40B4-BE49-F238E27FC236}">
                  <a16:creationId xmlns:a16="http://schemas.microsoft.com/office/drawing/2014/main" id="{DA7660EB-4D51-4982-8372-6E58C50CDE5E}"/>
                </a:ext>
              </a:extLst>
            </p:cNvPr>
            <p:cNvSpPr txBox="1"/>
            <p:nvPr/>
          </p:nvSpPr>
          <p:spPr>
            <a:xfrm>
              <a:off x="8111508" y="2993394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6" name="LineLegend3">
              <a:extLst>
                <a:ext uri="{FF2B5EF4-FFF2-40B4-BE49-F238E27FC236}">
                  <a16:creationId xmlns:a16="http://schemas.microsoft.com/office/drawing/2014/main" id="{966C354A-0204-46EB-8E36-0146C3FD31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3084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7" name="LineLegend2">
              <a:extLst>
                <a:ext uri="{FF2B5EF4-FFF2-40B4-BE49-F238E27FC236}">
                  <a16:creationId xmlns:a16="http://schemas.microsoft.com/office/drawing/2014/main" id="{B87C293D-A7CD-4508-B0B1-2017113A58A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710816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8" name="LineLegend1">
              <a:extLst>
                <a:ext uri="{FF2B5EF4-FFF2-40B4-BE49-F238E27FC236}">
                  <a16:creationId xmlns:a16="http://schemas.microsoft.com/office/drawing/2014/main" id="{4456FE58-0255-4DBB-92A8-6CC5F84B71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34288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</p:grpSp>
      <p:grpSp>
        <p:nvGrpSpPr>
          <p:cNvPr id="179" name="LegendMoons" hidden="1">
            <a:extLst>
              <a:ext uri="{FF2B5EF4-FFF2-40B4-BE49-F238E27FC236}">
                <a16:creationId xmlns:a16="http://schemas.microsoft.com/office/drawing/2014/main" id="{70A0319B-8EBB-4F65-9A96-1B1BB35625B1}"/>
              </a:ext>
            </a:extLst>
          </p:cNvPr>
          <p:cNvGrpSpPr/>
          <p:nvPr userDrawn="1"/>
        </p:nvGrpSpPr>
        <p:grpSpPr>
          <a:xfrm>
            <a:off x="7865561" y="1289273"/>
            <a:ext cx="862387" cy="1731859"/>
            <a:chOff x="7723680" y="1702457"/>
            <a:chExt cx="862387" cy="1731859"/>
          </a:xfrm>
        </p:grpSpPr>
        <p:sp>
          <p:nvSpPr>
            <p:cNvPr id="201" name="Legend1">
              <a:extLst>
                <a:ext uri="{FF2B5EF4-FFF2-40B4-BE49-F238E27FC236}">
                  <a16:creationId xmlns:a16="http://schemas.microsoft.com/office/drawing/2014/main" id="{49BB8121-D802-4602-ABD0-B61681B018F3}"/>
                </a:ext>
              </a:extLst>
            </p:cNvPr>
            <p:cNvSpPr txBox="1"/>
            <p:nvPr/>
          </p:nvSpPr>
          <p:spPr>
            <a:xfrm>
              <a:off x="8076312" y="1725205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2" name="Legend2">
              <a:extLst>
                <a:ext uri="{FF2B5EF4-FFF2-40B4-BE49-F238E27FC236}">
                  <a16:creationId xmlns:a16="http://schemas.microsoft.com/office/drawing/2014/main" id="{5EBAE2BA-95BE-43BE-ADD2-84B42D0356EE}"/>
                </a:ext>
              </a:extLst>
            </p:cNvPr>
            <p:cNvSpPr txBox="1"/>
            <p:nvPr/>
          </p:nvSpPr>
          <p:spPr>
            <a:xfrm>
              <a:off x="8076312" y="2100664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3" name="Legend3">
              <a:extLst>
                <a:ext uri="{FF2B5EF4-FFF2-40B4-BE49-F238E27FC236}">
                  <a16:creationId xmlns:a16="http://schemas.microsoft.com/office/drawing/2014/main" id="{F96B8EA8-EAE8-4395-BA9F-6F1303EA348F}"/>
                </a:ext>
              </a:extLst>
            </p:cNvPr>
            <p:cNvSpPr txBox="1"/>
            <p:nvPr/>
          </p:nvSpPr>
          <p:spPr>
            <a:xfrm>
              <a:off x="8076312" y="247612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4" name="Legend4">
              <a:extLst>
                <a:ext uri="{FF2B5EF4-FFF2-40B4-BE49-F238E27FC236}">
                  <a16:creationId xmlns:a16="http://schemas.microsoft.com/office/drawing/2014/main" id="{BE4110F2-0F5F-4468-93FA-59E84FEB9E4A}"/>
                </a:ext>
              </a:extLst>
            </p:cNvPr>
            <p:cNvSpPr txBox="1"/>
            <p:nvPr/>
          </p:nvSpPr>
          <p:spPr>
            <a:xfrm>
              <a:off x="8076312" y="2851582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5" name="Legend5">
              <a:extLst>
                <a:ext uri="{FF2B5EF4-FFF2-40B4-BE49-F238E27FC236}">
                  <a16:creationId xmlns:a16="http://schemas.microsoft.com/office/drawing/2014/main" id="{E16B28D1-13B2-4F91-8123-CC4749412D3B}"/>
                </a:ext>
              </a:extLst>
            </p:cNvPr>
            <p:cNvSpPr txBox="1"/>
            <p:nvPr/>
          </p:nvSpPr>
          <p:spPr>
            <a:xfrm>
              <a:off x="8076312" y="3227043"/>
              <a:ext cx="509755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grpSp>
          <p:nvGrpSpPr>
            <p:cNvPr id="206" name="MoonLegend1">
              <a:extLst>
                <a:ext uri="{FF2B5EF4-FFF2-40B4-BE49-F238E27FC236}">
                  <a16:creationId xmlns:a16="http://schemas.microsoft.com/office/drawing/2014/main" id="{A16FD1F9-C160-4C4C-BAF6-716DDB869224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5282EEB0-B664-439C-B943-F7BB43CCAC0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68D40D9B-9DF0-4077-8151-E93B0977AD0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7" name="MoonLegend2">
              <a:extLst>
                <a:ext uri="{FF2B5EF4-FFF2-40B4-BE49-F238E27FC236}">
                  <a16:creationId xmlns:a16="http://schemas.microsoft.com/office/drawing/2014/main" id="{F9F241E8-6251-451F-9BE9-2C8D83F44D6B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578B0A0D-F30C-40C1-A9C4-EB63E6138F4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87395151-2586-43D8-B836-6324CB40789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8" name="MoonLegend3">
              <a:extLst>
                <a:ext uri="{FF2B5EF4-FFF2-40B4-BE49-F238E27FC236}">
                  <a16:creationId xmlns:a16="http://schemas.microsoft.com/office/drawing/2014/main" id="{B66D3648-DE5A-4E5C-8578-141D178A4AD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D2DC89B-E4DB-4EBC-B12A-607EB3C23DED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50301F1B-4914-4337-B892-733925FD1C5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09" name="MoonLegend4">
              <a:extLst>
                <a:ext uri="{FF2B5EF4-FFF2-40B4-BE49-F238E27FC236}">
                  <a16:creationId xmlns:a16="http://schemas.microsoft.com/office/drawing/2014/main" id="{69C2ABAA-7291-4A19-A40B-3990AB445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B9D4D141-7E0B-42D0-994A-D8212F69EE2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>
                <a:extLst>
                  <a:ext uri="{FF2B5EF4-FFF2-40B4-BE49-F238E27FC236}">
                    <a16:creationId xmlns:a16="http://schemas.microsoft.com/office/drawing/2014/main" id="{397EC893-9249-44CD-982F-F7F0B99DFCA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  <p:grpSp>
          <p:nvGrpSpPr>
            <p:cNvPr id="210" name="MoonLegend5">
              <a:extLst>
                <a:ext uri="{FF2B5EF4-FFF2-40B4-BE49-F238E27FC236}">
                  <a16:creationId xmlns:a16="http://schemas.microsoft.com/office/drawing/2014/main" id="{CDCE6D47-F48F-4497-BD5A-E92F724CEE3D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E8E291C3-4BCA-406E-8B9A-6A354B83EF50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>
                <a:extLst>
                  <a:ext uri="{FF2B5EF4-FFF2-40B4-BE49-F238E27FC236}">
                    <a16:creationId xmlns:a16="http://schemas.microsoft.com/office/drawing/2014/main" id="{4C9C4DC9-D1E5-45F3-943E-09B75E72EE8C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782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10" r:id="rId3"/>
    <p:sldLayoutId id="2147484011" r:id="rId4"/>
    <p:sldLayoutId id="2147484012" r:id="rId5"/>
    <p:sldLayoutId id="2147484013" r:id="rId6"/>
    <p:sldLayoutId id="2147484014" r:id="rId7"/>
    <p:sldLayoutId id="2147484015" r:id="rId8"/>
    <p:sldLayoutId id="2147484016" r:id="rId9"/>
    <p:sldLayoutId id="2147484017" r:id="rId10"/>
    <p:sldLayoutId id="2147484018" r:id="rId11"/>
    <p:sldLayoutId id="2147484019" r:id="rId12"/>
    <p:sldLayoutId id="2147484020" r:id="rId13"/>
    <p:sldLayoutId id="2147484021" r:id="rId14"/>
  </p:sldLayoutIdLst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lang="en-US" sz="22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5497">
          <p15:clr>
            <a:srgbClr val="F26B43"/>
          </p15:clr>
        </p15:guide>
        <p15:guide id="6" pos="259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770.xml"/><Relationship Id="rId21" Type="http://schemas.openxmlformats.org/officeDocument/2006/relationships/tags" Target="../tags/tag765.xml"/><Relationship Id="rId34" Type="http://schemas.openxmlformats.org/officeDocument/2006/relationships/tags" Target="../tags/tag778.xml"/><Relationship Id="rId42" Type="http://schemas.openxmlformats.org/officeDocument/2006/relationships/tags" Target="../tags/tag786.xml"/><Relationship Id="rId47" Type="http://schemas.openxmlformats.org/officeDocument/2006/relationships/tags" Target="../tags/tag791.xml"/><Relationship Id="rId50" Type="http://schemas.openxmlformats.org/officeDocument/2006/relationships/tags" Target="../tags/tag794.xml"/><Relationship Id="rId55" Type="http://schemas.openxmlformats.org/officeDocument/2006/relationships/tags" Target="../tags/tag799.xml"/><Relationship Id="rId63" Type="http://schemas.openxmlformats.org/officeDocument/2006/relationships/tags" Target="../tags/tag807.xml"/><Relationship Id="rId68" Type="http://schemas.openxmlformats.org/officeDocument/2006/relationships/tags" Target="../tags/tag812.xml"/><Relationship Id="rId76" Type="http://schemas.openxmlformats.org/officeDocument/2006/relationships/tags" Target="../tags/tag820.xml"/><Relationship Id="rId84" Type="http://schemas.openxmlformats.org/officeDocument/2006/relationships/tags" Target="../tags/tag828.xml"/><Relationship Id="rId89" Type="http://schemas.openxmlformats.org/officeDocument/2006/relationships/tags" Target="../tags/tag833.xml"/><Relationship Id="rId97" Type="http://schemas.openxmlformats.org/officeDocument/2006/relationships/slideLayout" Target="../slideLayouts/slideLayout16.xml"/><Relationship Id="rId7" Type="http://schemas.openxmlformats.org/officeDocument/2006/relationships/tags" Target="../tags/tag751.xml"/><Relationship Id="rId71" Type="http://schemas.openxmlformats.org/officeDocument/2006/relationships/tags" Target="../tags/tag815.xml"/><Relationship Id="rId92" Type="http://schemas.openxmlformats.org/officeDocument/2006/relationships/tags" Target="../tags/tag836.xml"/><Relationship Id="rId2" Type="http://schemas.openxmlformats.org/officeDocument/2006/relationships/tags" Target="../tags/tag746.xml"/><Relationship Id="rId16" Type="http://schemas.openxmlformats.org/officeDocument/2006/relationships/tags" Target="../tags/tag760.xml"/><Relationship Id="rId29" Type="http://schemas.openxmlformats.org/officeDocument/2006/relationships/tags" Target="../tags/tag773.xml"/><Relationship Id="rId11" Type="http://schemas.openxmlformats.org/officeDocument/2006/relationships/tags" Target="../tags/tag755.xml"/><Relationship Id="rId24" Type="http://schemas.openxmlformats.org/officeDocument/2006/relationships/tags" Target="../tags/tag768.xml"/><Relationship Id="rId32" Type="http://schemas.openxmlformats.org/officeDocument/2006/relationships/tags" Target="../tags/tag776.xml"/><Relationship Id="rId37" Type="http://schemas.openxmlformats.org/officeDocument/2006/relationships/tags" Target="../tags/tag781.xml"/><Relationship Id="rId40" Type="http://schemas.openxmlformats.org/officeDocument/2006/relationships/tags" Target="../tags/tag784.xml"/><Relationship Id="rId45" Type="http://schemas.openxmlformats.org/officeDocument/2006/relationships/tags" Target="../tags/tag789.xml"/><Relationship Id="rId53" Type="http://schemas.openxmlformats.org/officeDocument/2006/relationships/tags" Target="../tags/tag797.xml"/><Relationship Id="rId58" Type="http://schemas.openxmlformats.org/officeDocument/2006/relationships/tags" Target="../tags/tag802.xml"/><Relationship Id="rId66" Type="http://schemas.openxmlformats.org/officeDocument/2006/relationships/tags" Target="../tags/tag810.xml"/><Relationship Id="rId74" Type="http://schemas.openxmlformats.org/officeDocument/2006/relationships/tags" Target="../tags/tag818.xml"/><Relationship Id="rId79" Type="http://schemas.openxmlformats.org/officeDocument/2006/relationships/tags" Target="../tags/tag823.xml"/><Relationship Id="rId87" Type="http://schemas.openxmlformats.org/officeDocument/2006/relationships/tags" Target="../tags/tag831.xml"/><Relationship Id="rId5" Type="http://schemas.openxmlformats.org/officeDocument/2006/relationships/tags" Target="../tags/tag749.xml"/><Relationship Id="rId61" Type="http://schemas.openxmlformats.org/officeDocument/2006/relationships/tags" Target="../tags/tag805.xml"/><Relationship Id="rId82" Type="http://schemas.openxmlformats.org/officeDocument/2006/relationships/tags" Target="../tags/tag826.xml"/><Relationship Id="rId90" Type="http://schemas.openxmlformats.org/officeDocument/2006/relationships/tags" Target="../tags/tag834.xml"/><Relationship Id="rId95" Type="http://schemas.openxmlformats.org/officeDocument/2006/relationships/tags" Target="../tags/tag839.xml"/><Relationship Id="rId19" Type="http://schemas.openxmlformats.org/officeDocument/2006/relationships/tags" Target="../tags/tag763.xml"/><Relationship Id="rId14" Type="http://schemas.openxmlformats.org/officeDocument/2006/relationships/tags" Target="../tags/tag758.xml"/><Relationship Id="rId22" Type="http://schemas.openxmlformats.org/officeDocument/2006/relationships/tags" Target="../tags/tag766.xml"/><Relationship Id="rId27" Type="http://schemas.openxmlformats.org/officeDocument/2006/relationships/tags" Target="../tags/tag771.xml"/><Relationship Id="rId30" Type="http://schemas.openxmlformats.org/officeDocument/2006/relationships/tags" Target="../tags/tag774.xml"/><Relationship Id="rId35" Type="http://schemas.openxmlformats.org/officeDocument/2006/relationships/tags" Target="../tags/tag779.xml"/><Relationship Id="rId43" Type="http://schemas.openxmlformats.org/officeDocument/2006/relationships/tags" Target="../tags/tag787.xml"/><Relationship Id="rId48" Type="http://schemas.openxmlformats.org/officeDocument/2006/relationships/tags" Target="../tags/tag792.xml"/><Relationship Id="rId56" Type="http://schemas.openxmlformats.org/officeDocument/2006/relationships/tags" Target="../tags/tag800.xml"/><Relationship Id="rId64" Type="http://schemas.openxmlformats.org/officeDocument/2006/relationships/tags" Target="../tags/tag808.xml"/><Relationship Id="rId69" Type="http://schemas.openxmlformats.org/officeDocument/2006/relationships/tags" Target="../tags/tag813.xml"/><Relationship Id="rId77" Type="http://schemas.openxmlformats.org/officeDocument/2006/relationships/tags" Target="../tags/tag821.xml"/><Relationship Id="rId100" Type="http://schemas.openxmlformats.org/officeDocument/2006/relationships/chart" Target="../charts/chart1.xml"/><Relationship Id="rId8" Type="http://schemas.openxmlformats.org/officeDocument/2006/relationships/tags" Target="../tags/tag752.xml"/><Relationship Id="rId51" Type="http://schemas.openxmlformats.org/officeDocument/2006/relationships/tags" Target="../tags/tag795.xml"/><Relationship Id="rId72" Type="http://schemas.openxmlformats.org/officeDocument/2006/relationships/tags" Target="../tags/tag816.xml"/><Relationship Id="rId80" Type="http://schemas.openxmlformats.org/officeDocument/2006/relationships/tags" Target="../tags/tag824.xml"/><Relationship Id="rId85" Type="http://schemas.openxmlformats.org/officeDocument/2006/relationships/tags" Target="../tags/tag829.xml"/><Relationship Id="rId93" Type="http://schemas.openxmlformats.org/officeDocument/2006/relationships/tags" Target="../tags/tag837.xml"/><Relationship Id="rId98" Type="http://schemas.openxmlformats.org/officeDocument/2006/relationships/oleObject" Target="../embeddings/oleObject96.bin"/><Relationship Id="rId3" Type="http://schemas.openxmlformats.org/officeDocument/2006/relationships/tags" Target="../tags/tag747.xml"/><Relationship Id="rId12" Type="http://schemas.openxmlformats.org/officeDocument/2006/relationships/tags" Target="../tags/tag756.xml"/><Relationship Id="rId17" Type="http://schemas.openxmlformats.org/officeDocument/2006/relationships/tags" Target="../tags/tag761.xml"/><Relationship Id="rId25" Type="http://schemas.openxmlformats.org/officeDocument/2006/relationships/tags" Target="../tags/tag769.xml"/><Relationship Id="rId33" Type="http://schemas.openxmlformats.org/officeDocument/2006/relationships/tags" Target="../tags/tag777.xml"/><Relationship Id="rId38" Type="http://schemas.openxmlformats.org/officeDocument/2006/relationships/tags" Target="../tags/tag782.xml"/><Relationship Id="rId46" Type="http://schemas.openxmlformats.org/officeDocument/2006/relationships/tags" Target="../tags/tag790.xml"/><Relationship Id="rId59" Type="http://schemas.openxmlformats.org/officeDocument/2006/relationships/tags" Target="../tags/tag803.xml"/><Relationship Id="rId67" Type="http://schemas.openxmlformats.org/officeDocument/2006/relationships/tags" Target="../tags/tag811.xml"/><Relationship Id="rId20" Type="http://schemas.openxmlformats.org/officeDocument/2006/relationships/tags" Target="../tags/tag764.xml"/><Relationship Id="rId41" Type="http://schemas.openxmlformats.org/officeDocument/2006/relationships/tags" Target="../tags/tag785.xml"/><Relationship Id="rId54" Type="http://schemas.openxmlformats.org/officeDocument/2006/relationships/tags" Target="../tags/tag798.xml"/><Relationship Id="rId62" Type="http://schemas.openxmlformats.org/officeDocument/2006/relationships/tags" Target="../tags/tag806.xml"/><Relationship Id="rId70" Type="http://schemas.openxmlformats.org/officeDocument/2006/relationships/tags" Target="../tags/tag814.xml"/><Relationship Id="rId75" Type="http://schemas.openxmlformats.org/officeDocument/2006/relationships/tags" Target="../tags/tag819.xml"/><Relationship Id="rId83" Type="http://schemas.openxmlformats.org/officeDocument/2006/relationships/tags" Target="../tags/tag827.xml"/><Relationship Id="rId88" Type="http://schemas.openxmlformats.org/officeDocument/2006/relationships/tags" Target="../tags/tag832.xml"/><Relationship Id="rId91" Type="http://schemas.openxmlformats.org/officeDocument/2006/relationships/tags" Target="../tags/tag835.xml"/><Relationship Id="rId96" Type="http://schemas.openxmlformats.org/officeDocument/2006/relationships/tags" Target="../tags/tag840.xml"/><Relationship Id="rId1" Type="http://schemas.openxmlformats.org/officeDocument/2006/relationships/vmlDrawing" Target="../drawings/vmlDrawing96.vml"/><Relationship Id="rId6" Type="http://schemas.openxmlformats.org/officeDocument/2006/relationships/tags" Target="../tags/tag750.xml"/><Relationship Id="rId15" Type="http://schemas.openxmlformats.org/officeDocument/2006/relationships/tags" Target="../tags/tag759.xml"/><Relationship Id="rId23" Type="http://schemas.openxmlformats.org/officeDocument/2006/relationships/tags" Target="../tags/tag767.xml"/><Relationship Id="rId28" Type="http://schemas.openxmlformats.org/officeDocument/2006/relationships/tags" Target="../tags/tag772.xml"/><Relationship Id="rId36" Type="http://schemas.openxmlformats.org/officeDocument/2006/relationships/tags" Target="../tags/tag780.xml"/><Relationship Id="rId49" Type="http://schemas.openxmlformats.org/officeDocument/2006/relationships/tags" Target="../tags/tag793.xml"/><Relationship Id="rId57" Type="http://schemas.openxmlformats.org/officeDocument/2006/relationships/tags" Target="../tags/tag801.xml"/><Relationship Id="rId10" Type="http://schemas.openxmlformats.org/officeDocument/2006/relationships/tags" Target="../tags/tag754.xml"/><Relationship Id="rId31" Type="http://schemas.openxmlformats.org/officeDocument/2006/relationships/tags" Target="../tags/tag775.xml"/><Relationship Id="rId44" Type="http://schemas.openxmlformats.org/officeDocument/2006/relationships/tags" Target="../tags/tag788.xml"/><Relationship Id="rId52" Type="http://schemas.openxmlformats.org/officeDocument/2006/relationships/tags" Target="../tags/tag796.xml"/><Relationship Id="rId60" Type="http://schemas.openxmlformats.org/officeDocument/2006/relationships/tags" Target="../tags/tag804.xml"/><Relationship Id="rId65" Type="http://schemas.openxmlformats.org/officeDocument/2006/relationships/tags" Target="../tags/tag809.xml"/><Relationship Id="rId73" Type="http://schemas.openxmlformats.org/officeDocument/2006/relationships/tags" Target="../tags/tag817.xml"/><Relationship Id="rId78" Type="http://schemas.openxmlformats.org/officeDocument/2006/relationships/tags" Target="../tags/tag822.xml"/><Relationship Id="rId81" Type="http://schemas.openxmlformats.org/officeDocument/2006/relationships/tags" Target="../tags/tag825.xml"/><Relationship Id="rId86" Type="http://schemas.openxmlformats.org/officeDocument/2006/relationships/tags" Target="../tags/tag830.xml"/><Relationship Id="rId94" Type="http://schemas.openxmlformats.org/officeDocument/2006/relationships/tags" Target="../tags/tag838.xml"/><Relationship Id="rId99" Type="http://schemas.openxmlformats.org/officeDocument/2006/relationships/image" Target="../media/image6.emf"/><Relationship Id="rId4" Type="http://schemas.openxmlformats.org/officeDocument/2006/relationships/tags" Target="../tags/tag748.xml"/><Relationship Id="rId9" Type="http://schemas.openxmlformats.org/officeDocument/2006/relationships/tags" Target="../tags/tag753.xml"/><Relationship Id="rId13" Type="http://schemas.openxmlformats.org/officeDocument/2006/relationships/tags" Target="../tags/tag757.xml"/><Relationship Id="rId18" Type="http://schemas.openxmlformats.org/officeDocument/2006/relationships/tags" Target="../tags/tag762.xml"/><Relationship Id="rId39" Type="http://schemas.openxmlformats.org/officeDocument/2006/relationships/tags" Target="../tags/tag7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B325E975-E8E6-47EC-B310-5D9DF029E7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7178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57" name="think-cell Slide" r:id="rId98" imgW="395" imgH="396" progId="TCLayout.ActiveDocument.1">
                  <p:embed/>
                </p:oleObj>
              </mc:Choice>
              <mc:Fallback>
                <p:oleObj name="think-cell Slide" r:id="rId98" imgW="395" imgH="396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B325E975-E8E6-47EC-B310-5D9DF029E7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EB40C02-8BE7-4900-93C2-C0F85F677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052" y="396122"/>
            <a:ext cx="8311896" cy="338554"/>
          </a:xfrm>
        </p:spPr>
        <p:txBody>
          <a:bodyPr vert="horz"/>
          <a:lstStyle/>
          <a:p>
            <a:r>
              <a:rPr lang="en-US" dirty="0"/>
              <a:t>COVID-19 Hospitalizations</a:t>
            </a:r>
            <a:endParaRPr lang="en-US" strike="sngStrike" dirty="0"/>
          </a:p>
        </p:txBody>
      </p:sp>
      <p:graphicFrame>
        <p:nvGraphicFramePr>
          <p:cNvPr id="124" name="Chart 123">
            <a:extLst>
              <a:ext uri="{FF2B5EF4-FFF2-40B4-BE49-F238E27FC236}">
                <a16:creationId xmlns:a16="http://schemas.microsoft.com/office/drawing/2014/main" id="{447C90EF-EB6A-4281-B263-E2581DF37181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44560589"/>
              </p:ext>
            </p:extLst>
          </p:nvPr>
        </p:nvGraphicFramePr>
        <p:xfrm>
          <a:off x="506413" y="1584325"/>
          <a:ext cx="7065962" cy="4068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0"/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44525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96BDDB4-9D39-44E6-825E-1B6CA705CEBE}" type="datetime'0''1''''''''''''''''''''''''''/''''''''''''''''''''''1''3'">
              <a:rPr lang="en-US" altLang="en-US" sz="600" smtClean="0">
                <a:cs typeface="+mn-cs"/>
              </a:rPr>
              <a:pPr/>
              <a:t>01/13</a:t>
            </a:fld>
            <a:endParaRPr lang="en-US" sz="600" dirty="0">
              <a:cs typeface="+mn-cs"/>
            </a:endParaRPr>
          </a:p>
        </p:txBody>
      </p:sp>
      <p:sp>
        <p:nvSpPr>
          <p:cNvPr id="121" name="Text Placeholder 3">
            <a:extLst>
              <a:ext uri="{FF2B5EF4-FFF2-40B4-BE49-F238E27FC236}">
                <a16:creationId xmlns:a16="http://schemas.microsoft.com/office/drawing/2014/main" id="{DA1E0FA2-7398-4DFB-A59D-851C595C64D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051300" y="4703763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2D5B88C-2DD6-4D0C-80A7-7123D626B5B4}" type="datetime'''''''''''1,3''''''''''''''''''''''''''1''''''''1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311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B3787ED4-B60A-4746-A46B-2FBD42183995}" type="datetime'''''''''''''4''8''.''8''''''''%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8.8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BE095211-FC57-4679-BFF7-276E50D5C3F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52775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B1AAC6B-B36A-4DDD-9132-EEFB3246A2E1}" type="datetime'''''''0''''''''1''''''''''''''/2''''''''''''''1'''''''''''">
              <a:rPr lang="en-US" altLang="en-US" sz="600" smtClean="0">
                <a:cs typeface="+mn-cs"/>
              </a:rPr>
              <a:pPr/>
              <a:t>01/21</a:t>
            </a:fld>
            <a:endParaRPr lang="en-US" sz="600" dirty="0">
              <a:cs typeface="+mn-cs"/>
            </a:endParaRPr>
          </a:p>
        </p:txBody>
      </p:sp>
      <p:sp>
        <p:nvSpPr>
          <p:cNvPr id="123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089400" y="2279650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037C06-C449-4B7A-815B-D65BF131EFEC}" type="datetime'''''''''''''''''''''''''2,''''''''68''''''''''''''''8'''">
              <a:rPr lang="en-US" altLang="en-US" sz="600" b="1" smtClean="0">
                <a:effectLst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,688</a:t>
            </a:fld>
            <a:endParaRPr lang="en-US" sz="600" b="1" dirty="0"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57263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993EAE6-1CFA-444F-9495-EC1BCA9C4B58}" type="datetime'''''''''''''''''''''''''''0''''1''''''/''''''''''1''''''4'''">
              <a:rPr lang="en-US" altLang="en-US" sz="600" smtClean="0">
                <a:cs typeface="+mn-cs"/>
              </a:rPr>
              <a:pPr/>
              <a:t>01/14</a:t>
            </a:fld>
            <a:endParaRPr lang="en-US" sz="600" dirty="0">
              <a:cs typeface="+mn-cs"/>
            </a:endParaRP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01663" y="2587625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6AFD273-698C-480A-95C1-C347449733D0}" type="datetime'''''''''''''1'''''',''''5''''''''''''4''''''''''9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549</a:t>
            </a:fld>
            <a:br>
              <a:rPr lang="en-US" altLang="en-US" sz="600">
                <a:solidFill>
                  <a:schemeClr val="tx2"/>
                </a:solidFill>
                <a:effectLst/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(</a:t>
            </a:r>
            <a:fld id="{0902A4C3-AD92-475C-B01F-7CC04CFE349E}" type="datetime'4''8''''''''''''''''''''''''''''''''.1''''''''%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8.1%</a:t>
            </a:fld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88" name="Text Placeholder 3">
            <a:extLst>
              <a:ext uri="{FF2B5EF4-FFF2-40B4-BE49-F238E27FC236}">
                <a16:creationId xmlns:a16="http://schemas.microsoft.com/office/drawing/2014/main" id="{597957CC-C530-4322-9E75-9E3E8B42E81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619750" y="3686175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6CC2C85-10CF-446C-9D7C-E8F96DB59002}" type="datetime'''''''''''''''''''9''''''''''''''''''''''61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961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985B5C7A-D7CF-4143-A238-F96FD266307B}" type="datetime'''4''''''''8''''''''''''''''''''''''''.''''1''''''''%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8.1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01663" y="4489450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C274C18-BA38-4F07-8299-05842DD63926}" type="datetime'''''''''''''''''''''''''''1'''',''6''''''''''74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674</a:t>
            </a:fld>
            <a:br>
              <a:rPr lang="en-US" altLang="en-US" sz="600">
                <a:solidFill>
                  <a:schemeClr val="tx2"/>
                </a:solidFill>
                <a:effectLst/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(</a:t>
            </a:r>
            <a:fld id="{89849CE6-6974-4796-B548-D0E0C392E192}" type="datetime'''''''''5''''''1''''''''''''''''.''9''''''''''''''''%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1.9%</a:t>
            </a:fld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228725" y="2652713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B442D55-425B-498B-B448-921CA831864F}" type="datetime'1'''''''''',''''''''''''''''5''''''''3''''3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533</a:t>
            </a:fld>
            <a:br>
              <a:rPr lang="en-US" altLang="en-US" sz="600">
                <a:solidFill>
                  <a:schemeClr val="tx2"/>
                </a:solidFill>
                <a:effectLst/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(</a:t>
            </a:r>
            <a:fld id="{421EDB64-DB74-4E98-A479-9072FC26FC2C}" type="datetime'''''''4''''''8.''''''''''5''''''''''''''''''%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8.5%</a:t>
            </a:fld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39763" y="1647825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BD90F17-8B8D-49B6-8C6B-7D2D3AF7F42D}" type="datetime'''''''''3'''''''''''''''''''''''''',''2''''2''''''3'''''''''''">
              <a:rPr lang="en-US" altLang="en-US" sz="600" b="1" smtClean="0">
                <a:cs typeface="+mn-cs"/>
              </a:rPr>
              <a:pPr/>
              <a:t>3,223</a:t>
            </a:fld>
            <a:endParaRPr lang="en-US" sz="600" b="1" dirty="0">
              <a:cs typeface="+mn-cs"/>
            </a:endParaRP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914400" y="2536825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E495F6E-9339-43FA-83FE-1352F3FB6758}" type="datetime'''''''''''''''''''''1,''''6''''''2''''''''9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629</a:t>
            </a:fld>
            <a:br>
              <a:rPr lang="en-US" altLang="en-US" sz="600">
                <a:solidFill>
                  <a:schemeClr val="tx2"/>
                </a:solidFill>
                <a:effectLst/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(</a:t>
            </a:r>
            <a:fld id="{A48D00A3-9703-44CB-80B1-154D2529173D}" type="datetime'4''''9''''''''''''''.''''''3%''''''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9.3%</a:t>
            </a:fld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228725" y="4518025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2D47B93-DD94-48F7-A7CD-5A1AB60F2043}" type="datetime'''''''''''1'''',''''''''''''''''''''6''2''''''''7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627</a:t>
            </a:fld>
            <a:br>
              <a:rPr lang="en-US" altLang="en-US" sz="600">
                <a:solidFill>
                  <a:schemeClr val="tx2"/>
                </a:solidFill>
                <a:effectLst/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(</a:t>
            </a:r>
            <a:fld id="{DF193175-64E4-48E9-B87E-E4DBDA289458}" type="datetime'''''''''''''''''''''''''''''''''5''1''''''''.''''''''''5''%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1.5%</a:t>
            </a:fld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914400" y="4487863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CEFAC7-DFDA-4048-962B-43550738A5E9}" type="datetime'''1'',''''''''''''''6''''''''''''''''''''''''''''''''''''77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677</a:t>
            </a:fld>
            <a:br>
              <a:rPr lang="en-US" altLang="en-US" sz="600">
                <a:solidFill>
                  <a:schemeClr val="tx2"/>
                </a:solidFill>
                <a:effectLst/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(</a:t>
            </a:r>
            <a:fld id="{347EFF52-16B9-4350-9AE2-792389A74D3C}" type="datetime'5''''''''''0''''.7''''''''''''''''''''%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0.7%</a:t>
            </a:fld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271588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551948A-D7D7-42E1-B3B3-057DB58052AA}" type="datetime'0''''''''''''1''/''''''''''''''''''''1''5'''''''">
              <a:rPr lang="en-US" altLang="en-US" sz="600" smtClean="0">
                <a:cs typeface="+mn-cs"/>
              </a:rPr>
              <a:pPr/>
              <a:t>01/15</a:t>
            </a:fld>
            <a:endParaRPr lang="en-US" sz="600" dirty="0">
              <a:cs typeface="+mn-cs"/>
            </a:endParaRP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541463" y="2601913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DA992DC-490B-42DE-92C0-8FEB8CAAA12C}" type="datetime'''''''''''''1'''',''''''''''5''''''''''''''4''''''7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547</a:t>
            </a:fld>
            <a:br>
              <a:rPr lang="en-US" altLang="en-US" sz="600">
                <a:solidFill>
                  <a:schemeClr val="tx2"/>
                </a:solidFill>
                <a:effectLst/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(</a:t>
            </a:r>
            <a:fld id="{0CF0AEE9-D366-4B4E-98E4-D234123BB301}" type="datetime'4''8''''''''''.''''2''''''''''''''%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8.2%</a:t>
            </a:fld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89" name="Text Placeholder 3">
            <a:extLst>
              <a:ext uri="{FF2B5EF4-FFF2-40B4-BE49-F238E27FC236}">
                <a16:creationId xmlns:a16="http://schemas.microsoft.com/office/drawing/2014/main" id="{4B06599A-547B-4A98-973C-5A9BDDB02BB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934075" y="4860925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AD65A07-F565-448B-B355-26DD520F8C7A}" type="datetime'''''''1'''''''''''''''''''''''''''',0''''''4''''''''6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046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EECB7EEB-990F-4457-895F-34FE8FF983E0}" type="datetime'''''5''''''''''''''''1''''.8''''''''%''''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1.8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541463" y="4497388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3C7A2D0-4ECA-4CD2-8241-5E4BFB15C3C7}" type="datetime'''''1'''''',''''''''''''6''''''''62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662</a:t>
            </a:fld>
            <a:br>
              <a:rPr lang="en-US" altLang="en-US" sz="600">
                <a:solidFill>
                  <a:schemeClr val="tx2"/>
                </a:solidFill>
                <a:effectLst/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(</a:t>
            </a:r>
            <a:fld id="{72FDF1F4-A69E-4302-A8BC-C7D32344E774}" type="datetime'''''''''''''5''''''1''''''''''''.''''''8''''''''''''''%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1.8%</a:t>
            </a:fld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73" name="Text Placeholder 3">
            <a:extLst>
              <a:ext uri="{FF2B5EF4-FFF2-40B4-BE49-F238E27FC236}">
                <a16:creationId xmlns:a16="http://schemas.microsoft.com/office/drawing/2014/main" id="{C5C7647D-B522-4075-8133-869C9ED9100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721225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858D9C1-2B89-47AA-9032-AF01511B638D}" type="datetime'''''''''''0''1/''''''''''2''6'''''''''''''''''''">
              <a:rPr lang="en-US" altLang="en-US" sz="600" smtClean="0">
                <a:cs typeface="+mn-cs"/>
              </a:rPr>
              <a:pPr/>
              <a:t>01/26</a:t>
            </a:fld>
            <a:endParaRPr lang="en-US" sz="600" dirty="0">
              <a:cs typeface="+mn-cs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D45576AA-097A-471F-8307-1EEB0B26A2B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584325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9F62345-37EE-4CC2-861E-51A394BE22F7}" type="datetime'''''''''01''/''1''''''''''''''6'''''''''''''''">
              <a:rPr lang="en-US" altLang="en-US" sz="600" smtClean="0">
                <a:cs typeface="+mn-cs"/>
              </a:rPr>
              <a:pPr/>
              <a:t>01/16</a:t>
            </a:fld>
            <a:endParaRPr lang="en-US" sz="600" dirty="0">
              <a:cs typeface="+mn-cs"/>
            </a:endParaRP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855788" y="2609850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691235C-4CAD-4883-8887-631BD0F861CF}" type="datetime'''1'''''''''''''''''',''''''''''''5''''''''''''''2''''6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526</a:t>
            </a:fld>
            <a:br>
              <a:rPr lang="en-US" altLang="en-US" sz="600">
                <a:solidFill>
                  <a:schemeClr val="tx2"/>
                </a:solidFill>
                <a:effectLst/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(</a:t>
            </a:r>
            <a:fld id="{8324935D-D8F6-4D4C-896B-C652EBAD5498}" type="datetime'''''''''''''4''7''''''''''''.''''''''''8''''%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7.8%</a:t>
            </a:fld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855788" y="4494213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C32C75-56B8-4F0E-B60C-9E37E1045624}" type="datetime'''''''''''''''''1'''''''''',6''6''''''''6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666</a:t>
            </a:fld>
            <a:br>
              <a:rPr lang="en-US" altLang="en-US" sz="600">
                <a:solidFill>
                  <a:schemeClr val="tx2"/>
                </a:solidFill>
                <a:effectLst/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(</a:t>
            </a:r>
            <a:fld id="{29F4B302-0115-4D17-A39E-2EEAEABDD868}" type="datetime'5''''2''''''''''''''''''''.2''''''''''%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2.2%</a:t>
            </a:fld>
            <a:r>
              <a:rPr lang="en-US" altLang="en-US" sz="600">
                <a:solidFill>
                  <a:schemeClr val="tx2"/>
                </a:solidFill>
                <a:effectLst/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37" name="Text Placeholder 3">
            <a:extLst>
              <a:ext uri="{FF2B5EF4-FFF2-40B4-BE49-F238E27FC236}">
                <a16:creationId xmlns:a16="http://schemas.microsoft.com/office/drawing/2014/main" id="{5A248B12-ECFB-4ECF-B9F0-AFA5629AD01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305425" y="4806950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2102F13-84FC-4A96-A9FA-1BDEE3644023}" type="datetime'''''''''''''''''''''1'',''1''''3''''''''''''7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137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F211CD3D-4170-4E03-92CE-593525CF3D65}" type="datetime'''5''''1''''.''''''''6''''''''''''''''%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1.6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7A3D2257-A542-4B67-9241-DC0799B59CD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898650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D21D79E-2445-4B92-B5DA-75761D451A5E}" type="datetime'''''01''''''/''''''''''''''''''''''''''''''''''''1''''7'''''''">
              <a:rPr lang="en-US" altLang="en-US" sz="600" smtClean="0">
                <a:cs typeface="+mn-cs"/>
              </a:rPr>
              <a:pPr/>
              <a:t>01/17</a:t>
            </a:fld>
            <a:endParaRPr lang="en-US" sz="600" dirty="0">
              <a:cs typeface="+mn-cs"/>
            </a:endParaRP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5532A99E-3AD3-40D3-8EF8-FBF3A0FE4BD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094163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02BA566-8D22-410C-AE5C-7A55F4E4916A}" type="datetime'''''01''''''/''''''''''''''''2''''''''''''''4'''''''''''">
              <a:rPr lang="en-US" altLang="en-US" sz="600" smtClean="0">
                <a:cs typeface="+mn-cs"/>
              </a:rPr>
              <a:pPr/>
              <a:t>01/24</a:t>
            </a:fld>
            <a:endParaRPr lang="en-US" sz="600" dirty="0">
              <a:cs typeface="+mn-cs"/>
            </a:endParaRP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69B9C8AA-6119-4061-9E85-4A6D3030E8B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170113" y="2638425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2A6DE7C-1388-4816-9F27-D9639F6B27EC}" type="datetime'1,''5''6''''''''''''''''''''''''''''''''''''''3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563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95D2268C-6992-43E5-A44B-50E5DA204C9C}" type="datetime'''''''49.''''''''''''''''''0''''%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9.0%</a:t>
            </a:fld>
            <a:r>
              <a:rPr lang="en-US" alt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1FD8FF8D-7E7A-43CF-A4A2-0F4F1B98FF2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170113" y="4519613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93D3BA8-6DD7-4242-B550-20C64171B381}" type="datetime'''1'''''''''''''''''',''''''''''''''6''''2''4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624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78BE5486-2350-476A-A768-FAC4E0FFEFA7}" type="datetime'''''''''''5''''''''''1''''''''.''''''''''''''0''''''''''%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1.0%</a:t>
            </a:fld>
            <a:r>
              <a:rPr lang="en-US" alt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95C27441-9D42-4B10-A40B-04C9857D5FD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212975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A7278A3-76DD-44E0-8560-E581DB4A23BD}" type="datetime'''''''''''''0''1''''/''''''''1''''''''''''''''''''''8'''''''">
              <a:rPr lang="en-US" altLang="en-US" sz="600" smtClean="0">
                <a:cs typeface="+mn-cs"/>
              </a:rPr>
              <a:pPr/>
              <a:t>01/18</a:t>
            </a:fld>
            <a:endParaRPr lang="en-US" sz="600" dirty="0">
              <a:cs typeface="+mn-cs"/>
            </a:endParaRPr>
          </a:p>
        </p:txBody>
      </p:sp>
      <p:sp>
        <p:nvSpPr>
          <p:cNvPr id="94" name="Text Placeholder 3">
            <a:extLst>
              <a:ext uri="{FF2B5EF4-FFF2-40B4-BE49-F238E27FC236}">
                <a16:creationId xmlns:a16="http://schemas.microsoft.com/office/drawing/2014/main" id="{B74F8C87-E0F2-4FAB-942A-B090346E02C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482850" y="2670175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4C81673-1C0D-4C4E-9BF1-5F51329F9665}" type="datetime'''''''''''''''''''''1,''''''''''''''''''''''5''34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534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8A6DCFE2-C024-4490-BA9A-4CBB1A76C2BE}" type="datetime'48''''.''''''''''''''''''''''''''8''''%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8.8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93" name="Text Placeholder 3">
            <a:extLst>
              <a:ext uri="{FF2B5EF4-FFF2-40B4-BE49-F238E27FC236}">
                <a16:creationId xmlns:a16="http://schemas.microsoft.com/office/drawing/2014/main" id="{E67938B0-7D7B-47EC-A1FB-832C70EBA47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482850" y="4527550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8F3E39A-2BEC-4A45-B0DE-396CF7A0A676}" type="datetime'''''''''''''''''''''''''''''1,''''''''''6''''1''''''0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610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BAEDD82A-9C9B-4BCA-BC66-9A6599887086}" type="datetime'''''5''''''''''''''''''''''1''''.''''''''''''''2%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1.2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C696C0B7-59DC-4BAA-BCD7-EDAD72FE2EC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525713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AB41FA8-C9EC-4F69-A21B-0F51CDCECC9E}" type="datetime'0''''1''''''/''''''''''''''''''''''''''''''''''1''''9'''''">
              <a:rPr lang="en-US" altLang="en-US" sz="600" smtClean="0">
                <a:cs typeface="+mn-cs"/>
              </a:rPr>
              <a:pPr/>
              <a:t>01/19</a:t>
            </a:fld>
            <a:endParaRPr lang="en-US" sz="600" dirty="0">
              <a:cs typeface="+mn-cs"/>
            </a:endParaRPr>
          </a:p>
        </p:txBody>
      </p:sp>
      <p:sp>
        <p:nvSpPr>
          <p:cNvPr id="74" name="Text Placeholder 3">
            <a:extLst>
              <a:ext uri="{FF2B5EF4-FFF2-40B4-BE49-F238E27FC236}">
                <a16:creationId xmlns:a16="http://schemas.microsoft.com/office/drawing/2014/main" id="{29F49323-DC28-4480-93FC-3253B5803C4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035550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04F4438-7736-4C87-9AC8-AA12B077F631}" type="datetime'''''''0''''''''''''''1''''/''''2''''''7'''">
              <a:rPr lang="en-US" altLang="en-US" sz="600" smtClean="0">
                <a:cs typeface="+mn-cs"/>
              </a:rPr>
              <a:pPr/>
              <a:t>01/27</a:t>
            </a:fld>
            <a:endParaRPr lang="en-US" sz="600" dirty="0">
              <a:cs typeface="+mn-cs"/>
            </a:endParaRPr>
          </a:p>
        </p:txBody>
      </p:sp>
      <p:sp>
        <p:nvSpPr>
          <p:cNvPr id="102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148013" y="1930400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EA5F87A-0B9F-435F-BCFB-0EDA69351C54}" type="datetime'''''''''''''''''''''''''2'''''''''',''''98''''''''4'''''''''''">
              <a:rPr lang="en-US" altLang="en-US" sz="600" b="1" smtClean="0">
                <a:cs typeface="+mn-cs"/>
              </a:rPr>
              <a:pPr/>
              <a:t>2,984</a:t>
            </a:fld>
            <a:endParaRPr lang="en-US" sz="600" b="1" dirty="0">
              <a:cs typeface="+mn-cs"/>
            </a:endParaRPr>
          </a:p>
        </p:txBody>
      </p:sp>
      <p:sp>
        <p:nvSpPr>
          <p:cNvPr id="125" name="Text Placeholder 3">
            <a:extLst>
              <a:ext uri="{FF2B5EF4-FFF2-40B4-BE49-F238E27FC236}">
                <a16:creationId xmlns:a16="http://schemas.microsoft.com/office/drawing/2014/main" id="{B343FD1E-C834-4FC3-8DBD-7B0372BAC8B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365625" y="4702175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619335E-69D2-4581-8E6D-980447CCE8BB}" type="datetime'''''''''''''''''''''''''''''''''''''1'''''''',''''3''1''''3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313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CD35F214-2B64-4B04-A4CA-604F94C0C19B}" type="datetime'''''''''''''5''0''.''''''''2''''''''''''''''''''''''%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0.2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96" name="Text Placeholder 3">
            <a:extLst>
              <a:ext uri="{FF2B5EF4-FFF2-40B4-BE49-F238E27FC236}">
                <a16:creationId xmlns:a16="http://schemas.microsoft.com/office/drawing/2014/main" id="{335F8DA9-C8A8-4B17-B771-293A7049288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2797175" y="2722563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C6CF8FF-DAB6-4E37-A97C-9E66AFA12F3D}" type="datetime'1,''''''''5''''''''''''''4''''''''''''2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542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F9FF9367-738C-4594-ABCD-D6A5357326EA}" type="datetime'''''''''''''''''''4''9''''''''''''''.''''''''7''''%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9.7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D8140757-39D4-42AB-B1A9-A89B907D0AF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797175" y="4554538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7E5DFD-0379-42A3-8B47-3F351999FB74}" type="datetime'''1'''',56''''''''''''''''''3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563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3DF726EB-ED0A-4488-BDA6-1B6AD8DE4CD3}" type="datetime'''''''''''''''''''''50''.''''3''''''%''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0.3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30" name="Text Placeholder 3">
            <a:extLst>
              <a:ext uri="{FF2B5EF4-FFF2-40B4-BE49-F238E27FC236}">
                <a16:creationId xmlns:a16="http://schemas.microsoft.com/office/drawing/2014/main" id="{A673902B-DFB8-4C2C-9B1D-D7670EB28EC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678363" y="3257550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EFD25E3-1C76-49B9-AE76-C09956195C25}" type="datetime'''''''''''''''''''''''''1,''''''''''''''''''''''''''''282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282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9D8296C0-3788-4CC5-BFE1-4991EF032ABD}" type="datetime'''''''''5''''0''''.''''''9''''''''''''''%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0.9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EF02E4C0-CE5C-4170-A798-AF03D445FD9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840038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3654A1B-A346-4CA6-AC53-CB45E32D9573}" type="datetime'''0''''''1/''''2''''''''''''''0'''''''''''''''''''''">
              <a:rPr lang="en-US" altLang="en-US" sz="600" smtClean="0">
                <a:cs typeface="+mn-cs"/>
              </a:rPr>
              <a:pPr/>
              <a:t>01/20</a:t>
            </a:fld>
            <a:endParaRPr lang="en-US" sz="600" dirty="0">
              <a:cs typeface="+mn-cs"/>
            </a:endParaRPr>
          </a:p>
        </p:txBody>
      </p:sp>
      <p:sp>
        <p:nvSpPr>
          <p:cNvPr id="98" name="Text Placeholder 3">
            <a:extLst>
              <a:ext uri="{FF2B5EF4-FFF2-40B4-BE49-F238E27FC236}">
                <a16:creationId xmlns:a16="http://schemas.microsoft.com/office/drawing/2014/main" id="{060FAD17-6AF7-45A8-B093-2A2EAE1628B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3109913" y="2838450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650BF1-8796-4DF3-8309-0B0B4F14BB4D}" type="datetime'''''1'''''''',''''''''''''''''''''''''''''''''''''4''''''97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497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1D318F43-C538-4FD0-8BA2-B1FBCF29E466}" type="datetime'''5''''''''0''''''''''''.''''''''2''''''''%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0.2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87" name="Text Placeholder 3">
            <a:extLst>
              <a:ext uri="{FF2B5EF4-FFF2-40B4-BE49-F238E27FC236}">
                <a16:creationId xmlns:a16="http://schemas.microsoft.com/office/drawing/2014/main" id="{87A7BA82-B19E-4AEA-955C-8C40EBC4F27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619750" y="4865688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55F701F-280E-47DE-98C8-70F8E6662EE3}" type="datetime'''''''''1,''0''''''''''''''''''''''''''''3''''''''7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037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99A7E90F-6A0F-446F-B4D1-E9C7F64B56B0}" type="datetime'''''5''''''''''''1''''''''.9''''''''''''''''%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1.9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34" name="Text Placeholder 3">
            <a:extLst>
              <a:ext uri="{FF2B5EF4-FFF2-40B4-BE49-F238E27FC236}">
                <a16:creationId xmlns:a16="http://schemas.microsoft.com/office/drawing/2014/main" id="{2837861C-D5B9-47AB-9078-BB1D30A2EC1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992688" y="3389313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CF4BDC8-3EAB-4225-838D-A68C92CE045D}" type="datetime'''''''''''''''''1'',2''''''''''''1''''''''''''''''''''''''6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216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5E97E32F-1510-4142-9285-6841B2FAF7F2}" type="datetime'''''''''''''''''''''''51''''''.''''2''''''''''''''''''%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1.2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97" name="Text Placeholder 3">
            <a:extLst>
              <a:ext uri="{FF2B5EF4-FFF2-40B4-BE49-F238E27FC236}">
                <a16:creationId xmlns:a16="http://schemas.microsoft.com/office/drawing/2014/main" id="{829C584A-6F90-461C-9636-81309B4DE7E8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109913" y="4600575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8E5FCDA-AA98-4BC5-B251-F221BB87DF5C}" type="datetime'''1'''''''''''',4''8''7''''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487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EECFAD46-9441-4A41-B01D-3085169A5002}" type="datetime'''''''''4''''''''''''''''9''''''''''''''''''.''8''''%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9.8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850BA1C5-434C-4F69-A0E6-3F8895ABF97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3424238" y="3009900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8946884-F041-4BC5-9AE8-193E535352B0}" type="datetime'''''''1'''''''',''''''''3''8''''5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385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0A69AB0D-0BFA-4157-9675-6BCF07801BFA}" type="datetime'''''''''48''''.2''''''%''''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8.2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00533082-5D56-457F-A5DB-8C3053C960F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3424238" y="4652963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B422217-E25A-4F92-8ACE-8A65F47539D3}" type="datetime'''''''''1,''''''''''''''''3''''''''''''''''''''98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398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E274D19F-3DC5-44DD-9D45-8C1A34885FF0}" type="datetime'4''''8''''''''''''''''''.''7''''''''''''''''''''''%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8.7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72" name="Text Placeholder 3">
            <a:extLst>
              <a:ext uri="{FF2B5EF4-FFF2-40B4-BE49-F238E27FC236}">
                <a16:creationId xmlns:a16="http://schemas.microsoft.com/office/drawing/2014/main" id="{093F6EB6-8E9F-4C83-AE39-21745D89DF99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408488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70E4A5-AFA3-451C-8FC9-045A7EFB3012}" type="datetime'''''''''0''''''''1/''''''''''''''''25'''''''''">
              <a:rPr lang="en-US" altLang="en-US" sz="600" smtClean="0">
                <a:cs typeface="+mn-cs"/>
              </a:rPr>
              <a:pPr/>
              <a:t>01/25</a:t>
            </a:fld>
            <a:endParaRPr lang="en-US" sz="600" dirty="0">
              <a:cs typeface="+mn-cs"/>
            </a:endParaRPr>
          </a:p>
        </p:txBody>
      </p:sp>
      <p:sp>
        <p:nvSpPr>
          <p:cNvPr id="68" name="Text Placeholder 3">
            <a:extLst>
              <a:ext uri="{FF2B5EF4-FFF2-40B4-BE49-F238E27FC236}">
                <a16:creationId xmlns:a16="http://schemas.microsoft.com/office/drawing/2014/main" id="{3E1F8356-89CA-4E2C-8F3C-4D17BF35D99C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3738563" y="3038475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2A7E306-A331-47E6-AB00-F326C86658AB}" type="datetime'1'''''''''',3''''''''''''''''''''''''''6''''''''''8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368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6B497B5E-FB54-4A35-AEDC-05E35F8801BB}" type="datetime'''''''''''4''''''''''''''9''.7''''''''''''''''''''''''%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9.7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4BFE123E-BD93-4EA7-AC95-650012FD8CE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3738563" y="4662488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DDD8697-ADA9-4D17-85BA-0FC8FA9A336D}" type="datetime'''''''1'''',''3''''82''''''''''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382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F37B14B9-8EEE-4B98-B9EE-C6A7FCDD8F24}" type="datetime'''''5''''''''''''''''''''''0''''''''.3''''''%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0.3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4B72B923-3EA5-4BC2-8E94-02445D8B683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3781425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B32D71-AC74-412F-8362-EBAD66CB4AAB}" type="datetime'''''0''''''''''1''''''''''''''''/''''''''''2''''3'''">
              <a:rPr lang="en-US" altLang="en-US" sz="600" smtClean="0">
                <a:cs typeface="+mn-cs"/>
              </a:rPr>
              <a:pPr/>
              <a:t>01/23</a:t>
            </a:fld>
            <a:endParaRPr lang="en-US" sz="600" dirty="0">
              <a:cs typeface="+mn-cs"/>
            </a:endParaRPr>
          </a:p>
        </p:txBody>
      </p:sp>
      <p:sp>
        <p:nvSpPr>
          <p:cNvPr id="122" name="Text Placeholder 3">
            <a:extLst>
              <a:ext uri="{FF2B5EF4-FFF2-40B4-BE49-F238E27FC236}">
                <a16:creationId xmlns:a16="http://schemas.microsoft.com/office/drawing/2014/main" id="{EDBA0B2A-6041-40C1-BDD2-336233BEEB2E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051300" y="3117850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0122FC7-CE5E-4080-BF10-20833F2ACE8C}" type="datetime'''''''''''''''1'''''',''''''''3''''''''''77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377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C6804F69-4977-4611-B081-BE805ACE5F96}" type="datetime'''''''5''''''''1.2''''''''''''%''''''''''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1.2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B2FA7456-BA07-4B82-A14D-71109929F9B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916738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3A7735-3A56-4E16-9172-4A05613F10C1}" type="datetime'''''0''''''''''''2''/''''0''''''''2'">
              <a:rPr lang="en-US" altLang="en-US" sz="600" smtClean="0">
                <a:cs typeface="+mn-cs"/>
              </a:rPr>
              <a:pPr/>
              <a:t>02/02</a:t>
            </a:fld>
            <a:endParaRPr lang="en-US" sz="600" dirty="0">
              <a:cs typeface="+mn-cs"/>
            </a:endParaRPr>
          </a:p>
        </p:txBody>
      </p:sp>
      <p:sp>
        <p:nvSpPr>
          <p:cNvPr id="126" name="Text Placeholder 3">
            <a:extLst>
              <a:ext uri="{FF2B5EF4-FFF2-40B4-BE49-F238E27FC236}">
                <a16:creationId xmlns:a16="http://schemas.microsoft.com/office/drawing/2014/main" id="{4A86C1C5-99DE-4E98-A993-4BCAB04C529C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365625" y="3157538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94BA0F8-4BF6-4492-BE61-9AAE5E1F329C}" type="datetime'''''''1'',''''''''3''''04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304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E34C2970-2BAF-4B18-8908-BF3AA239627C}" type="datetime'49''''''''''''''''.''''''8''''''''''''''''''%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9.8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29" name="Text Placeholder 3">
            <a:extLst>
              <a:ext uri="{FF2B5EF4-FFF2-40B4-BE49-F238E27FC236}">
                <a16:creationId xmlns:a16="http://schemas.microsoft.com/office/drawing/2014/main" id="{BBB414BA-9E81-4D4F-B888-5B1E4E764638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678363" y="4746625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186AE60-89B6-4B27-9607-41574C131104}" type="datetime'1'''''''''''''''''''''',23''''''''''''''9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239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B98EF26D-9577-4378-A8E5-A64B753A6B75}" type="datetime'''''''''''''''''4''9.1''''''''''''''''''''''''''''''''%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9.1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33" name="Text Placeholder 3">
            <a:extLst>
              <a:ext uri="{FF2B5EF4-FFF2-40B4-BE49-F238E27FC236}">
                <a16:creationId xmlns:a16="http://schemas.microsoft.com/office/drawing/2014/main" id="{1FAE53A2-C679-4752-9CC1-9F57729CCEAF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992688" y="4792663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71F3FA3-EB05-48FE-A0DE-F8A311D76586}" type="datetime'''''''1'''''''''''''',1''''''6''''''''''''''''''''''''1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161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5390EB97-204D-41EE-9B2A-4A28F900FD35}" type="datetime'''''48''''''''.''''''''8''''''''''''''''%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8.8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90" name="Text Placeholder 3">
            <a:extLst>
              <a:ext uri="{FF2B5EF4-FFF2-40B4-BE49-F238E27FC236}">
                <a16:creationId xmlns:a16="http://schemas.microsoft.com/office/drawing/2014/main" id="{0CE6B3DB-C12C-40EB-B5EE-85BA83E1C8F5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5934075" y="3668713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D4DED7A-2AE0-4209-B804-1019A1E65EE4}" type="datetime'''''''''''''''''9''7''''''''''''''''''''''''''''''''''4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974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8C2B2D54-9037-4DC1-B2CF-D68910A0F27B}" type="datetime'''''4''''''''''''''''''''''8''''.''''''2%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8.2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38" name="Text Placeholder 3">
            <a:extLst>
              <a:ext uri="{FF2B5EF4-FFF2-40B4-BE49-F238E27FC236}">
                <a16:creationId xmlns:a16="http://schemas.microsoft.com/office/drawing/2014/main" id="{9E303AB9-BD2E-45DB-A31B-65260EAD3738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5305425" y="3506788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D6193A1-1C0F-4E7B-B2DF-946891341F29}" type="datetime'''''''''''''''''''''''''''''1'',''''''''0''''''6''5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1,065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16A32048-8F4A-46B7-81CB-C3B16C2C723E}" type="datetime'''''''''''''''''''''''''48.''''''''''''''''''''''''''4''''%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8.4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FC19ACDC-215B-47C8-BBFF-A4D7D86EE95C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5348288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810F309-EAF1-46F0-8E47-3F6301CC7F56}" type="datetime'''''''''''''''0''''''''''''''''1''''/2''''''''''''''''''''8'">
              <a:rPr lang="en-US" altLang="en-US" sz="600" smtClean="0">
                <a:cs typeface="+mn-cs"/>
              </a:rPr>
              <a:pPr/>
              <a:t>01/28</a:t>
            </a:fld>
            <a:endParaRPr lang="en-US" sz="600" dirty="0">
              <a:cs typeface="+mn-cs"/>
            </a:endParaRP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FB50FEAB-9A5E-4E97-A7D9-418B7E9FE6E7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6873875" y="5005388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A51F833-78A7-4EB8-9C52-B3C3D788430E}" type="datetime'''80''''''''0''''''''''''''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800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76EDE007-6B3A-4D35-951E-B8F2B4005E05}" type="datetime'''''''''''''''''''''''''48''''''''.''2%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8.2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BC135CAD-1872-4B6A-9B80-A7DF7A782AEF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662613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DB44B32-B086-4BF7-96B4-0AE7A672A8FA}" type="datetime'''''''''''0''''1''''''/2''''''''''''9'''">
              <a:rPr lang="en-US" altLang="en-US" sz="600" smtClean="0">
                <a:cs typeface="+mn-cs"/>
              </a:rPr>
              <a:pPr/>
              <a:t>01/29</a:t>
            </a:fld>
            <a:endParaRPr lang="en-US" sz="600" dirty="0">
              <a:cs typeface="+mn-cs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88913" y="2633663"/>
            <a:ext cx="3540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A27AC70-7FE1-4518-9380-64270E042EEE}" type="datetime'''''I''n''''ci''d''''''''en''t''''a''''l'''''''''''''''">
              <a:rPr lang="en-US" altLang="en-US" sz="600" b="1" smtClean="0">
                <a:cs typeface="+mn-cs"/>
              </a:rPr>
              <a:pPr/>
              <a:t>Incidental</a:t>
            </a:fld>
            <a:endParaRPr lang="en-US" sz="600" b="1" dirty="0">
              <a:cs typeface="+mn-cs"/>
            </a:endParaRP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80EFFFF-1671-410C-8FF8-99E06149E288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5976938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267BD34-5C29-431F-8AC8-7BFDFFF32679}" type="datetime'''''''''''''01''''''''''''''''''/''''''''3''''0'''''''''''">
              <a:rPr lang="en-US" altLang="en-US" sz="600" smtClean="0">
                <a:cs typeface="+mn-cs"/>
              </a:rPr>
              <a:pPr/>
              <a:t>01/30</a:t>
            </a:fld>
            <a:endParaRPr lang="en-US" sz="600" dirty="0">
              <a:cs typeface="+mn-cs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0879D68C-BFB4-481D-8DD6-F330CD6E277F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6873875" y="4025900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871E3F2-A49C-40DB-9072-D73F9E4920E2}" type="datetime'''''''''''''''''''''''''8''''''''''''6''''''''''1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861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C439ED44-78FD-4166-98E0-3275C7CFD660}" type="datetime'5''''''''1''''''''''.''''''''''''8''''''''''''''%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1.8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92" name="Text Placeholder 3">
            <a:extLst>
              <a:ext uri="{FF2B5EF4-FFF2-40B4-BE49-F238E27FC236}">
                <a16:creationId xmlns:a16="http://schemas.microsoft.com/office/drawing/2014/main" id="{101C8D8D-0312-45E8-B7B5-A92E6068ABEE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6246813" y="3741738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B613917-8D81-4F17-960B-2375DFAB150E}" type="datetime'''''''''''''''''''''''''9''''9''''''''''''''0'''''''''''">
              <a:rPr lang="en-US" altLang="en-US" sz="600" smtClean="0">
                <a:solidFill>
                  <a:schemeClr val="tx2"/>
                </a:solidFill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90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9612CEB5-3381-476F-9187-7F86A977AB5F}" type="datetime'''''5''''''''''''''''''''''''''''0''.''''''''''4%'">
              <a:rPr lang="en-US" altLang="en-US" sz="600" smtClean="0">
                <a:solidFill>
                  <a:schemeClr val="tx2"/>
                </a:solidFill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0.4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11" name="Text Placeholder 3">
            <a:extLst>
              <a:ext uri="{FF2B5EF4-FFF2-40B4-BE49-F238E27FC236}">
                <a16:creationId xmlns:a16="http://schemas.microsoft.com/office/drawing/2014/main" id="{6C21D0A5-C644-4BC3-BE9D-3E875908CA3E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6561138" y="3890963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EBC9C5D-2AFA-4CAC-9987-CF79F9FA9F95}" type="datetime'9''09''''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09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4EE3D2F7-5399-446F-A668-A5B2CB0BC757}" type="datetime'''''''''''''''''''''''5''''''''0.''''5''%'''''''">
              <a:rPr lang="en-US" altLang="en-US" sz="600" smtClean="0">
                <a:solidFill>
                  <a:schemeClr val="tx2"/>
                </a:solidFill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0.5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91" name="Text Placeholder 3">
            <a:extLst>
              <a:ext uri="{FF2B5EF4-FFF2-40B4-BE49-F238E27FC236}">
                <a16:creationId xmlns:a16="http://schemas.microsoft.com/office/drawing/2014/main" id="{8795FE14-17ED-44BB-9848-09BE5CE75EE4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6246813" y="4902200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A0797BC-1840-41DE-BB51-8FED054FE151}" type="datetime'''''''''''''''9''''''7''''5''''''''''''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75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85697145-E4C7-4A54-BDC4-F706BA9B8850}" type="datetime'4''''''''''''''''''9''.''''''''6''''''''''''%'''''''">
              <a:rPr lang="en-US" altLang="en-US" sz="600" smtClean="0">
                <a:solidFill>
                  <a:schemeClr val="tx2"/>
                </a:solidFill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9.6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6C0ECC1B-01E3-4485-85F1-0F249217F110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6289675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65C8D4-D91A-4199-BE37-2730A66AD88B}" type="datetime'0''''''1''''''''''''''/''''3''''''''''''1'">
              <a:rPr lang="en-US" altLang="en-US" sz="600" smtClean="0">
                <a:cs typeface="+mn-cs"/>
              </a:rPr>
              <a:pPr/>
              <a:t>01/31</a:t>
            </a:fld>
            <a:endParaRPr lang="en-US" sz="600" dirty="0">
              <a:cs typeface="+mn-cs"/>
            </a:endParaRPr>
          </a:p>
        </p:txBody>
      </p:sp>
      <p:sp>
        <p:nvSpPr>
          <p:cNvPr id="110" name="Text Placeholder 3">
            <a:extLst>
              <a:ext uri="{FF2B5EF4-FFF2-40B4-BE49-F238E27FC236}">
                <a16:creationId xmlns:a16="http://schemas.microsoft.com/office/drawing/2014/main" id="{ADD3C7B7-62F1-408B-9BBB-A297F1D7E687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6561138" y="4953000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6A82E7D-336C-457F-AAEF-F0D3B0566286}" type="datetime'''''8''''''''''''''''''9''''''0''''''''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90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F967A7B4-6131-468C-8A3C-980FEECF7D4D}" type="datetime'''''''''''''4''''''''''9''''''''''.''''''''''5''''''''''''''%'">
              <a:rPr lang="en-US" altLang="en-US" sz="600" smtClean="0">
                <a:solidFill>
                  <a:schemeClr val="tx2"/>
                </a:solidFill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9.5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05" name="Text Placeholder 3">
            <a:extLst>
              <a:ext uri="{FF2B5EF4-FFF2-40B4-BE49-F238E27FC236}">
                <a16:creationId xmlns:a16="http://schemas.microsoft.com/office/drawing/2014/main" id="{60B8404F-435E-46C2-B7D4-82A5A786EC22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6604000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B1D3827-2265-4183-B298-6BCD9D72E8F7}" type="datetime'''''''''''0''''2''''''/''''''''''''0''''''''''1'''">
              <a:rPr lang="en-US" altLang="en-US" sz="600" smtClean="0">
                <a:cs typeface="+mn-cs"/>
              </a:rPr>
              <a:pPr/>
              <a:t>02/01</a:t>
            </a:fld>
            <a:endParaRPr lang="en-US" sz="600" dirty="0">
              <a:cs typeface="+mn-cs"/>
            </a:endParaRP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62E3C49C-7782-43E6-B81C-F36D6B5B3FC0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88913" y="4535488"/>
            <a:ext cx="3063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D58A9CF-0538-401A-86DC-EBD882E97757}" type="datetime'P''r''''''''im''''''''''''''ar''''''''''y'''' '''">
              <a:rPr lang="en-US" altLang="en-US" sz="600" b="1" smtClean="0">
                <a:cs typeface="+mn-cs"/>
              </a:rPr>
              <a:pPr/>
              <a:t>Primary </a:t>
            </a:fld>
            <a:endParaRPr lang="en-US" sz="600" b="1" dirty="0">
              <a:cs typeface="+mn-cs"/>
            </a:endParaRP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ABA7F53C-6346-4D8E-999B-C0A53ACEFDCB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3467100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E5A1335-1E7C-41E8-95A6-88AF0139BA65}" type="datetime'''0''''''''''''''1/2''''''''''''''2'''">
              <a:rPr lang="en-US" altLang="en-US" sz="600" smtClean="0">
                <a:cs typeface="+mn-cs"/>
              </a:rPr>
              <a:pPr/>
              <a:t>01/22</a:t>
            </a:fld>
            <a:endParaRPr lang="en-US" sz="600" dirty="0">
              <a:cs typeface="+mn-cs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1266825" y="1722438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58B03B7-DF61-4421-9F38-492DCF1B70B8}" type="datetime'''''3'''''',''''''''1''''''''''''''6''''''0'''''''''''">
              <a:rPr lang="en-US" altLang="en-US" sz="600" b="1" smtClean="0">
                <a:cs typeface="+mn-cs"/>
              </a:rPr>
              <a:pPr/>
              <a:t>3,160</a:t>
            </a:fld>
            <a:endParaRPr lang="en-US" sz="600" b="1" dirty="0">
              <a:cs typeface="+mn-cs"/>
            </a:endParaRP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2B5F2B11-4709-44A7-9E18-2A5A27052FDD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1579563" y="1663700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84CBBBF-76D7-4B3B-8053-DAE85C1CAFC5}" type="datetime'''3'''''''''''''''''',''2''''''''''''09'''''''''''''''''">
              <a:rPr lang="en-US" altLang="en-US" sz="600" b="1" smtClean="0">
                <a:cs typeface="+mn-cs"/>
              </a:rPr>
              <a:pPr/>
              <a:t>3,209</a:t>
            </a:fld>
            <a:endParaRPr lang="en-US" sz="600" b="1" dirty="0">
              <a:cs typeface="+mn-cs"/>
            </a:endParaRP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495FE502-9233-40C5-8C0E-32AE83721938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1893888" y="1684338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1693DC-F911-465A-9FE1-CC7C79C52D6E}" type="datetime'3,''''1''9''''''''''''''''''''''''''''''''''''''2'''''''''''''">
              <a:rPr lang="en-US" altLang="en-US" sz="600" b="1" smtClean="0">
                <a:cs typeface="+mn-cs"/>
              </a:rPr>
              <a:pPr/>
              <a:t>3,192</a:t>
            </a:fld>
            <a:endParaRPr lang="en-US" sz="600" b="1" dirty="0">
              <a:cs typeface="+mn-cs"/>
            </a:endParaRPr>
          </a:p>
        </p:txBody>
      </p:sp>
      <p:sp>
        <p:nvSpPr>
          <p:cNvPr id="65" name="Text Placeholder 3">
            <a:extLst>
              <a:ext uri="{FF2B5EF4-FFF2-40B4-BE49-F238E27FC236}">
                <a16:creationId xmlns:a16="http://schemas.microsoft.com/office/drawing/2014/main" id="{07B5E3ED-0CCC-475A-AC9B-B5BBE1C11578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2208213" y="1690688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D35DAE9-B17F-4BF3-B634-E7A0413739EE}" type="datetime'''''''''''''3,''1''''8''''''''''7'''''''''''''''''''''''">
              <a:rPr lang="en-US" altLang="en-US" sz="600" b="1" smtClean="0">
                <a:cs typeface="+mn-cs"/>
              </a:rPr>
              <a:pPr/>
              <a:t>3,187</a:t>
            </a:fld>
            <a:endParaRPr lang="en-US" sz="600" b="1" dirty="0">
              <a:cs typeface="+mn-cs"/>
            </a:endParaRPr>
          </a:p>
        </p:txBody>
      </p:sp>
      <p:sp>
        <p:nvSpPr>
          <p:cNvPr id="100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2520950" y="1739900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1CF8906-6DFE-4258-8C25-86FA2FB49D33}" type="datetime'''''''3'''''''''''''''''''''',''''1''4''''''''''''''''4'''">
              <a:rPr lang="en-US" altLang="en-US" sz="600" b="1" smtClean="0">
                <a:cs typeface="+mn-cs"/>
              </a:rPr>
              <a:pPr/>
              <a:t>3,144</a:t>
            </a:fld>
            <a:endParaRPr lang="en-US" sz="600" b="1" dirty="0">
              <a:cs typeface="+mn-cs"/>
            </a:endParaRPr>
          </a:p>
        </p:txBody>
      </p:sp>
      <p:sp>
        <p:nvSpPr>
          <p:cNvPr id="101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2835275" y="1787525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A04CE38-BCA3-4142-ABA9-383D1302436D}" type="datetime'''3'''''''''',''''''''''''''1''''''''''''''''''0''''5'''''''">
              <a:rPr lang="en-US" altLang="en-US" sz="600" b="1" smtClean="0">
                <a:cs typeface="+mn-cs"/>
              </a:rPr>
              <a:pPr/>
              <a:t>3,105</a:t>
            </a:fld>
            <a:endParaRPr lang="en-US" sz="600" b="1" dirty="0">
              <a:cs typeface="+mn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F2B433A0-3432-498C-A128-0AA229005F0B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3462338" y="2166938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76627F5-3AF6-4752-96E5-6C845AEB631A}" type="datetime'''''''''''''''''''''''''''''''''''''2,''''''''7''8''''''3'">
              <a:rPr lang="en-US" altLang="en-US" sz="600" b="1" smtClean="0">
                <a:cs typeface="+mn-cs"/>
              </a:rPr>
              <a:pPr/>
              <a:t>2,783</a:t>
            </a:fld>
            <a:endParaRPr lang="en-US" sz="600" b="1" dirty="0">
              <a:cs typeface="+mn-cs"/>
            </a:endParaRPr>
          </a:p>
        </p:txBody>
      </p:sp>
      <p:sp>
        <p:nvSpPr>
          <p:cNvPr id="63" name="Text Placeholder 3">
            <a:extLst>
              <a:ext uri="{FF2B5EF4-FFF2-40B4-BE49-F238E27FC236}">
                <a16:creationId xmlns:a16="http://schemas.microsoft.com/office/drawing/2014/main" id="{D619CA05-AEDB-4FC7-9C26-7846D3870FA0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3776663" y="2206625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7C2D0B4-2E3E-479A-9E8C-E29B1C4FE579}" type="datetime'''''''''2'''''''''''''''''''''''',75''''0'''''''''''''''">
              <a:rPr lang="en-US" altLang="en-US" sz="600" b="1" smtClean="0">
                <a:cs typeface="+mn-cs"/>
              </a:rPr>
              <a:pPr/>
              <a:t>2,750</a:t>
            </a:fld>
            <a:endParaRPr lang="en-US" sz="600" b="1" dirty="0">
              <a:cs typeface="+mn-cs"/>
            </a:endParaRPr>
          </a:p>
        </p:txBody>
      </p:sp>
      <p:sp>
        <p:nvSpPr>
          <p:cNvPr id="127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4403725" y="2362200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0C9795B-9954-43ED-B9E3-3A4FC1476E3F}" type="datetime'''''''''''''2'''''',''''61''7'''''''''''''''">
              <a:rPr lang="en-US" altLang="en-US" sz="600" b="1" smtClean="0">
                <a:effectLst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,617</a:t>
            </a:fld>
            <a:endParaRPr lang="en-US" sz="600" b="1" dirty="0">
              <a:cs typeface="+mn-cs"/>
            </a:endParaRPr>
          </a:p>
        </p:txBody>
      </p:sp>
      <p:sp>
        <p:nvSpPr>
          <p:cNvPr id="131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4716463" y="2476500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F0A0E1-4E11-4D7A-8D65-019F4E689D1A}" type="datetime'''''''2'''''''''''''''''',''''''''''52''''1'''''''''''">
              <a:rPr lang="en-US" altLang="en-US" sz="600" b="1" smtClean="0">
                <a:effectLst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,521</a:t>
            </a:fld>
            <a:endParaRPr lang="en-US" sz="600" b="1" dirty="0">
              <a:cs typeface="+mn-cs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952500" y="1549400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3CE9C7C-C9E3-4573-A467-BA6FE3BE6B26}" type="datetime'''''''''''''''''''''''3,''''''''''''''''3''06'''''''''''">
              <a:rPr lang="en-US" altLang="en-US" sz="600" b="1" smtClean="0">
                <a:cs typeface="+mn-cs"/>
              </a:rPr>
              <a:pPr/>
              <a:t>3,306</a:t>
            </a:fld>
            <a:endParaRPr lang="en-US" sz="600" b="1" dirty="0">
              <a:cs typeface="+mn-cs"/>
            </a:endParaRPr>
          </a:p>
        </p:txBody>
      </p:sp>
      <p:sp>
        <p:nvSpPr>
          <p:cNvPr id="139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5343525" y="2852738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CF7BBA3-8C4B-4E84-B16D-300DE0E07279}" type="datetime'''''''''2'''',''''''''''''2''''0''''2'''''''''''''''''''''''''">
              <a:rPr lang="en-US" altLang="en-US" sz="600" b="1" smtClean="0">
                <a:effectLst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,202</a:t>
            </a:fld>
            <a:endParaRPr lang="en-US" sz="600" b="1" dirty="0">
              <a:cs typeface="+mn-cs"/>
            </a:endParaRPr>
          </a:p>
        </p:txBody>
      </p:sp>
      <p:sp>
        <p:nvSpPr>
          <p:cNvPr id="99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5657850" y="3094038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90554DA-D9C7-4C98-8B15-F81D279CAC50}" type="datetime'''''''''''1'''''''',''''''''''''''''99''''''''''8'''''''''">
              <a:rPr lang="en-US" altLang="en-US" sz="600" b="1" smtClean="0">
                <a:cs typeface="+mn-cs"/>
              </a:rPr>
              <a:pPr/>
              <a:t>1,998</a:t>
            </a:fld>
            <a:endParaRPr lang="en-US" sz="600" b="1" dirty="0">
              <a:cs typeface="+mn-cs"/>
            </a:endParaRPr>
          </a:p>
        </p:txBody>
      </p:sp>
      <p:sp>
        <p:nvSpPr>
          <p:cNvPr id="103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972175" y="3068638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22CE132-E3F4-42F9-8C57-4A796B290294}" type="datetime'''''''2,''''''''''''''02''''''''''''''''''0'''''''''''''''''''">
              <a:rPr lang="en-US" altLang="en-US" sz="600" b="1" smtClean="0">
                <a:cs typeface="+mn-cs"/>
              </a:rPr>
              <a:pPr/>
              <a:t>2,020</a:t>
            </a:fld>
            <a:endParaRPr lang="en-US" sz="600" b="1" dirty="0">
              <a:cs typeface="+mn-cs"/>
            </a:endParaRPr>
          </a:p>
        </p:txBody>
      </p:sp>
      <p:sp>
        <p:nvSpPr>
          <p:cNvPr id="104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6284913" y="3132138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1A2EC1B-36F1-42F9-8DB9-B4E1FB01EDEE}" type="datetime'''''1'''''''''''''',''''''''''''''''9''6''''''5'''''''''''''">
              <a:rPr lang="en-US" altLang="en-US" sz="600" b="1" smtClean="0">
                <a:cs typeface="+mn-cs"/>
              </a:rPr>
              <a:pPr/>
              <a:t>1,965</a:t>
            </a:fld>
            <a:endParaRPr lang="en-US" sz="600" b="1" dirty="0">
              <a:cs typeface="+mn-cs"/>
            </a:endParaRPr>
          </a:p>
        </p:txBody>
      </p:sp>
      <p:sp>
        <p:nvSpPr>
          <p:cNvPr id="112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6599238" y="3328988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ACBB93C-40EC-41C0-B399-3E1933930D69}" type="datetime'''1'''''''''''''''''',''7''9''''9'''''''''''''''''''''''''">
              <a:rPr lang="en-US" altLang="en-US" sz="600" b="1" smtClean="0">
                <a:cs typeface="+mn-cs"/>
              </a:rPr>
              <a:pPr/>
              <a:t>1,799</a:t>
            </a:fld>
            <a:endParaRPr lang="en-US" sz="600" b="1" dirty="0">
              <a:cs typeface="+mn-cs"/>
            </a:endParaRPr>
          </a:p>
        </p:txBody>
      </p:sp>
      <p:sp>
        <p:nvSpPr>
          <p:cNvPr id="108" name="Text Placeholder 3">
            <a:extLst>
              <a:ext uri="{FF2B5EF4-FFF2-40B4-BE49-F238E27FC236}">
                <a16:creationId xmlns:a16="http://schemas.microsoft.com/office/drawing/2014/main" id="{19719454-2460-43C9-9E3E-DF9531EA801E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6911975" y="3492500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AAEF54E-2D67-4829-9CAE-FC813317FE1C}" type="datetime'1'''''''''',''''''6''''''''''''''''''''''''''''''61'''''">
              <a:rPr lang="en-US" altLang="en-US" sz="600" b="1" smtClean="0">
                <a:cs typeface="+mn-cs"/>
              </a:rPr>
              <a:pPr/>
              <a:t>1,661</a:t>
            </a:fld>
            <a:endParaRPr lang="en-US" sz="600" b="1" dirty="0">
              <a:cs typeface="+mn-cs"/>
            </a:endParaRPr>
          </a:p>
        </p:txBody>
      </p:sp>
      <p:sp>
        <p:nvSpPr>
          <p:cNvPr id="107" name="Text Placeholder 3">
            <a:extLst>
              <a:ext uri="{FF2B5EF4-FFF2-40B4-BE49-F238E27FC236}">
                <a16:creationId xmlns:a16="http://schemas.microsoft.com/office/drawing/2014/main" id="{5156067C-3FE0-47C0-ABF2-B08BF0301436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7231063" y="5595938"/>
            <a:ext cx="20478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20B5F97-1ADE-4B96-9CB3-312D8C36F8E1}" type="datetime'0''''''''''''2''''/''0''''''3'''''''''''''''''''''''">
              <a:rPr lang="en-US" altLang="en-US" sz="600" smtClean="0">
                <a:cs typeface="+mn-cs"/>
              </a:rPr>
              <a:pPr/>
              <a:t>02/03</a:t>
            </a:fld>
            <a:endParaRPr lang="en-US" sz="600" dirty="0">
              <a:cs typeface="+mn-cs"/>
            </a:endParaRPr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5319B95B-2DD6-4D78-BCA1-5A2458557482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7226300" y="3584575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EB5E2BC-FCB5-47BB-9182-164659578504}" type="datetime'''''''''''''1'''''''''''''''''''''''',''5''''''8''''''3'">
              <a:rPr lang="en-US" altLang="en-US" sz="600" b="1" smtClean="0">
                <a:cs typeface="+mn-cs"/>
              </a:rPr>
              <a:pPr/>
              <a:t>1,583</a:t>
            </a:fld>
            <a:endParaRPr lang="en-US" sz="600" b="1" dirty="0">
              <a:cs typeface="+mn-cs"/>
            </a:endParaRPr>
          </a:p>
        </p:txBody>
      </p:sp>
      <p:sp>
        <p:nvSpPr>
          <p:cNvPr id="115" name="Text Placeholder 3">
            <a:extLst>
              <a:ext uri="{FF2B5EF4-FFF2-40B4-BE49-F238E27FC236}">
                <a16:creationId xmlns:a16="http://schemas.microsoft.com/office/drawing/2014/main" id="{BBD1E56B-2EE4-4A8F-8426-E43BB5F9BAF2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7188200" y="5029200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A8F32C1-97B9-4840-A103-8EFC411BF563}" type="datetime'''''''''''''''''''''''''''''''7''''''''''''60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760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60F6A073-2146-48B2-B811-A5E2B89BD9B6}" type="datetime'4''''''''''''''''''''''''''''8''''''.''0''%''''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48.0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ED3A0614-E685-40DA-BD74-B36AA3D26BCF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7188200" y="4095750"/>
            <a:ext cx="290513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ctr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08E53B-BE11-4963-B485-79193538D8AB}" type="datetime'''8''2''''''''''''''''''3''''''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823</a:t>
            </a:fld>
            <a:br>
              <a:rPr lang="en-US" altLang="en-US" sz="600">
                <a:solidFill>
                  <a:schemeClr val="tx2"/>
                </a:solidFill>
                <a:cs typeface="+mn-cs"/>
              </a:rPr>
            </a:br>
            <a:r>
              <a:rPr lang="en-US" altLang="en-US" sz="600">
                <a:solidFill>
                  <a:schemeClr val="tx2"/>
                </a:solidFill>
                <a:cs typeface="+mn-cs"/>
              </a:rPr>
              <a:t>(</a:t>
            </a:r>
            <a:fld id="{69567872-30B7-4DFE-B61B-022B87FD4097}" type="datetime'''5''''2''''.''0''''''''''''''''''''''''''''%'''''''''">
              <a:rPr lang="en-US" altLang="en-US" sz="600" smtClean="0">
                <a:solidFill>
                  <a:schemeClr val="tx2"/>
                </a:solidFill>
                <a:cs typeface="+mn-cs"/>
              </a:rPr>
              <a:pPr/>
              <a:t>52.0%</a:t>
            </a:fld>
            <a:r>
              <a:rPr lang="en-US" sz="600">
                <a:solidFill>
                  <a:schemeClr val="tx2"/>
                </a:solidFill>
                <a:cs typeface="+mn-cs"/>
              </a:rPr>
              <a:t>)</a:t>
            </a:r>
            <a:endParaRPr lang="en-US" sz="600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030788" y="2646363"/>
            <a:ext cx="21431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1113" tIns="0" rIns="11113" bIns="0" numCol="1" spcCol="0" rtlCol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42913" indent="-214313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98488" indent="-152400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817563" indent="-147638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859536" indent="-128585" algn="l" defTabSz="6857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900EF16-CCA8-475F-B1A4-79F152213CDC}" type="datetime'''''''''2'''''',3''''''''''''7''''''''''''''''''''7'''''''''''">
              <a:rPr lang="en-US" altLang="en-US" sz="600" b="1" smtClean="0">
                <a:effectLst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,377</a:t>
            </a:fld>
            <a:endParaRPr lang="en-US" sz="600" b="1" dirty="0">
              <a:cs typeface="+mn-cs"/>
            </a:endParaRPr>
          </a:p>
        </p:txBody>
      </p:sp>
      <p:sp>
        <p:nvSpPr>
          <p:cNvPr id="362515" name="TextBox 362514">
            <a:extLst>
              <a:ext uri="{FF2B5EF4-FFF2-40B4-BE49-F238E27FC236}">
                <a16:creationId xmlns:a16="http://schemas.microsoft.com/office/drawing/2014/main" id="{A55B331A-84CC-4905-B7C6-B498F3AB5303}"/>
              </a:ext>
            </a:extLst>
          </p:cNvPr>
          <p:cNvSpPr txBox="1"/>
          <p:nvPr/>
        </p:nvSpPr>
        <p:spPr>
          <a:xfrm>
            <a:off x="7589836" y="2590135"/>
            <a:ext cx="1460159" cy="27084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68578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28600" lvl="1" indent="-225425" defTabSz="68578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400" dirty="0">
                <a:cs typeface="Arial" panose="020B0604020202020204" pitchFamily="34" charset="0"/>
              </a:defRPr>
            </a:lvl2pPr>
            <a:lvl3pPr marL="442913" lvl="2" indent="-214313" defTabSz="68578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400" dirty="0">
                <a:cs typeface="Arial" panose="020B0604020202020204" pitchFamily="34" charset="0"/>
              </a:defRPr>
            </a:lvl3pPr>
            <a:lvl4pPr marL="598488" lvl="3" indent="-152400" defTabSz="685783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400" dirty="0">
                <a:cs typeface="Arial" panose="020B0604020202020204" pitchFamily="34" charset="0"/>
              </a:defRPr>
            </a:lvl4pPr>
            <a:lvl5pPr marL="817563" lvl="4" indent="-147638" defTabSz="685783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400" dirty="0">
                <a:cs typeface="Arial" panose="020B0604020202020204" pitchFamily="34" charset="0"/>
              </a:defRPr>
            </a:lvl5pPr>
            <a:lvl6pPr marL="859536" indent="-128585" defTabSz="685783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dirty="0">
                <a:cs typeface="Arial" panose="020B0604020202020204" pitchFamily="34" charset="0"/>
              </a:defRPr>
            </a:lvl6pPr>
            <a:lvl7pPr marL="859536" indent="-128585" defTabSz="685783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dirty="0">
                <a:cs typeface="Arial" panose="020B0604020202020204" pitchFamily="34" charset="0"/>
              </a:defRPr>
            </a:lvl7pPr>
            <a:lvl8pPr marL="859536" indent="-128585" defTabSz="685783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dirty="0">
                <a:cs typeface="Arial" panose="020B0604020202020204" pitchFamily="34" charset="0"/>
              </a:defRPr>
            </a:lvl8pPr>
            <a:lvl9pPr marL="859536" indent="-128585" defTabSz="685783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SzPct val="100000"/>
              <a:buFont typeface="Arial" panose="020B0604020202020204" pitchFamily="34" charset="0"/>
              <a:buChar char="▫"/>
              <a:defRPr lang="en-US" sz="1400" dirty="0">
                <a:cs typeface="Arial" panose="020B0604020202020204" pitchFamily="34" charset="0"/>
              </a:defRPr>
            </a:lvl9pPr>
          </a:lstStyle>
          <a:p>
            <a:r>
              <a:rPr lang="en-US" sz="1100" dirty="0"/>
              <a:t>Of the </a:t>
            </a:r>
            <a:r>
              <a:rPr lang="en-US" sz="1100" b="1" dirty="0"/>
              <a:t>1,583</a:t>
            </a:r>
            <a:r>
              <a:rPr lang="en-US" sz="1100" dirty="0"/>
              <a:t> hospitalized COVID-19 patients statewide, </a:t>
            </a:r>
            <a:r>
              <a:rPr lang="en-US" sz="1100" b="1" dirty="0">
                <a:solidFill>
                  <a:srgbClr val="4E79A7"/>
                </a:solidFill>
              </a:rPr>
              <a:t>760 (48.0%) </a:t>
            </a:r>
            <a:r>
              <a:rPr lang="en-US" sz="1100" dirty="0"/>
              <a:t>patients were reported as being hospitalized due to their COVID-19 (primary COVID-19) and </a:t>
            </a:r>
            <a:r>
              <a:rPr lang="en-US" sz="1100" b="1" dirty="0">
                <a:solidFill>
                  <a:srgbClr val="73B3F7"/>
                </a:solidFill>
              </a:rPr>
              <a:t>823 (52.0%) </a:t>
            </a:r>
            <a:r>
              <a:rPr lang="en-US" sz="1100" dirty="0"/>
              <a:t>hospitalized patients were reported as testing positive for COVID-19 while hospitalized for other reasons (incidental COVID-19)</a:t>
            </a:r>
            <a:r>
              <a:rPr lang="en-US" sz="1100" baseline="30000" dirty="0"/>
              <a:t>1</a:t>
            </a:r>
            <a:r>
              <a:rPr lang="en-US" sz="1100" dirty="0"/>
              <a:t>   </a:t>
            </a:r>
          </a:p>
        </p:txBody>
      </p:sp>
      <p:sp>
        <p:nvSpPr>
          <p:cNvPr id="161" name="4. Footnote">
            <a:extLst>
              <a:ext uri="{FF2B5EF4-FFF2-40B4-BE49-F238E27FC236}">
                <a16:creationId xmlns:a16="http://schemas.microsoft.com/office/drawing/2014/main" id="{C784A502-AD82-47D3-A69B-1F42DD68FEFE}"/>
              </a:ext>
            </a:extLst>
          </p:cNvPr>
          <p:cNvSpPr txBox="1"/>
          <p:nvPr>
            <p:custDataLst>
              <p:tags r:id="rId94"/>
            </p:custDataLst>
          </p:nvPr>
        </p:nvSpPr>
        <p:spPr>
          <a:xfrm>
            <a:off x="411480" y="6274554"/>
            <a:ext cx="8311896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.	Patients are reported as being hospitalized due to their COVID-19 if they received dexamethasone treatment. Administration of dexamethasone, a type of steroid medication, is considered an indicator of moderate to severe COVID-19 and provides an estimate of primary COVID-19. </a:t>
            </a:r>
          </a:p>
        </p:txBody>
      </p:sp>
      <p:sp>
        <p:nvSpPr>
          <p:cNvPr id="198" name="ACET">
            <a:extLst>
              <a:ext uri="{FF2B5EF4-FFF2-40B4-BE49-F238E27FC236}">
                <a16:creationId xmlns:a16="http://schemas.microsoft.com/office/drawing/2014/main" id="{AD462DBD-3BBB-4C79-BB82-EEB4C69AA54B}"/>
              </a:ext>
            </a:extLst>
          </p:cNvPr>
          <p:cNvSpPr txBox="1"/>
          <p:nvPr>
            <p:custDataLst>
              <p:tags r:id="rId95"/>
            </p:custDataLst>
          </p:nvPr>
        </p:nvSpPr>
        <p:spPr>
          <a:xfrm>
            <a:off x="609601" y="1080822"/>
            <a:ext cx="325976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400" dirty="0"/>
              <a:t>Statewide COVID-19 Hospitalizations</a:t>
            </a:r>
            <a:endParaRPr lang="en-US" sz="1400" b="0" dirty="0"/>
          </a:p>
        </p:txBody>
      </p:sp>
      <p:cxnSp>
        <p:nvCxnSpPr>
          <p:cNvPr id="362504" name="LineBasicVerticalDefault 362504">
            <a:extLst>
              <a:ext uri="{FF2B5EF4-FFF2-40B4-BE49-F238E27FC236}">
                <a16:creationId xmlns:a16="http://schemas.microsoft.com/office/drawing/2014/main" id="{34D79F74-75F8-48EE-B4A6-322C048D0481}"/>
              </a:ext>
            </a:extLst>
          </p:cNvPr>
          <p:cNvCxnSpPr>
            <a:cxnSpLocks/>
          </p:cNvCxnSpPr>
          <p:nvPr>
            <p:custDataLst>
              <p:tags r:id="rId96"/>
            </p:custDataLst>
          </p:nvPr>
        </p:nvCxnSpPr>
        <p:spPr>
          <a:xfrm>
            <a:off x="7489740" y="1690688"/>
            <a:ext cx="0" cy="3938587"/>
          </a:xfrm>
          <a:prstGeom prst="straightConnector1">
            <a:avLst/>
          </a:prstGeom>
          <a:ln w="1270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1823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7 01:13 PM"/>
  <p:tag name="TEMPLATECREATED" val="2019-02-27 01:19 PM"/>
  <p:tag name="TEMPLATEVERSION" val="3"/>
  <p:tag name="BLUEONEFOURTHTITLEFONTCOLORFIXED" val="true"/>
  <p:tag name="DARKLAYOUTNAMESCHANGEDTOCONTRAST" val="true"/>
  <p:tag name="CTFIXED" val="Yes"/>
  <p:tag name="TEMPLATELASTEDITED" val="2020-04-03 08:06 AM"/>
  <p:tag name="THINKCELLPRESENTATIONDONOTDELETE" val="&lt;?xml version=&quot;1.0&quot; encoding=&quot;UTF-16&quot; standalone=&quot;yes&quot;?&gt;&lt;root reqver=&quot;27037&quot;&gt;&lt;version val=&quot;3251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m/%d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4&quot;&gt;&lt;elem m_fUsage=&quot;2.89976324940671137398E+00&quot;&gt;&lt;m_msothmcolidx val=&quot;0&quot;/&gt;&lt;m_rgb r=&quot;FF&quot; g=&quot;00&quot; b=&quot;00&quot;/&gt;&lt;/elem&gt;&lt;elem m_fUsage=&quot;1.55610000000000003872E+00&quot;&gt;&lt;m_msothmcolidx val=&quot;0&quot;/&gt;&lt;m_rgb r=&quot;25&quot; g=&quot;5B&quot; b=&quot;EB&quot;/&gt;&lt;/elem&gt;&lt;elem m_fUsage=&quot;1.40049000000000001265E+00&quot;&gt;&lt;m_msothmcolidx val=&quot;0&quot;/&gt;&lt;m_rgb r=&quot;2A&quot; g=&quot;33&quot; b=&quot;5C&quot;/&gt;&lt;/elem&gt;&lt;elem m_fUsage=&quot;1.10928496519973251999E+00&quot;&gt;&lt;m_msothmcolidx val=&quot;0&quot;/&gt;&lt;m_rgb r=&quot;F0&quot; g=&quot;CA&quot; b=&quot;C8&quot;/&gt;&lt;/elem&gt;&lt;elem m_fUsage=&quot;8.37734065462328092444E-01&quot;&gt;&lt;m_msothmcolidx val=&quot;0&quot;/&gt;&lt;m_rgb r=&quot;ED&quot; g=&quot;C9&quot; b=&quot;48&quot;/&gt;&lt;/elem&gt;&lt;elem m_fUsage=&quot;5.30624913313574975149E-01&quot;&gt;&lt;m_msothmcolidx val=&quot;0&quot;/&gt;&lt;m_rgb r=&quot;97&quot; g=&quot;09&quot; b=&quot;16&quot;/&gt;&lt;/elem&gt;&lt;elem m_fUsage=&quot;4.70255094690569419580E-01&quot;&gt;&lt;m_msothmcolidx val=&quot;0&quot;/&gt;&lt;m_rgb r=&quot;D8&quot; g=&quot;16&quot; b=&quot;F3&quot;/&gt;&lt;/elem&gt;&lt;elem m_fUsage=&quot;4.26031908290714300680E-01&quot;&gt;&lt;m_msothmcolidx val=&quot;0&quot;/&gt;&lt;m_rgb r=&quot;59&quot; g=&quot;A1&quot; b=&quot;4F&quot;/&gt;&lt;/elem&gt;&lt;elem m_fUsage=&quot;3.87420489000000145552E-01&quot;&gt;&lt;m_msothmcolidx val=&quot;0&quot;/&gt;&lt;m_rgb r=&quot;FE&quot; g=&quot;E8&quot; b=&quot;BA&quot;/&gt;&lt;/elem&gt;&lt;elem m_fUsage=&quot;9.61896463451332173200E-02&quot;&gt;&lt;m_msothmcolidx val=&quot;0&quot;/&gt;&lt;m_rgb r=&quot;F9&quot; g=&quot;9D&quot; b=&quot;F9&quot;/&gt;&lt;/elem&gt;&lt;elem m_fUsage=&quot;7.76163968842583512631E-02&quot;&gt;&lt;m_msothmcolidx val=&quot;0&quot;/&gt;&lt;m_rgb r=&quot;6A&quot; g=&quot;CC&quot; b=&quot;68&quot;/&gt;&lt;/elem&gt;&lt;elem m_fUsage=&quot;4.00561927712877879904E-02&quot;&gt;&lt;m_msothmcolidx val=&quot;0&quot;/&gt;&lt;m_rgb r=&quot;FB&quot; g=&quot;11&quot; b=&quot;46&quot;/&gt;&lt;/elem&gt;&lt;elem m_fUsage=&quot;3.81520424476946215520E-02&quot;&gt;&lt;m_msothmcolidx val=&quot;0&quot;/&gt;&lt;m_rgb r=&quot;F9&quot; g=&quot;85&quot; b=&quot;4D&quot;/&gt;&lt;/elem&gt;&lt;elem m_fUsage=&quot;2.25283995449391989674E-02&quot;&gt;&lt;m_msothmcolidx val=&quot;0&quot;/&gt;&lt;m_rgb r=&quot;C6&quot; g=&quot;F1&quot; b=&quot;FF&quot;/&gt;&lt;/elem&gt;&lt;/m_vecMRU&gt;&lt;/m_mruColor&gt;&lt;m_eweekdayFirstOfWeek val=&quot;1&quot;/&gt;&lt;m_eweekdayFirstOfWorkweek val=&quot;2&quot;/&gt;&lt;m_eweekdayFirstOfWeekend val=&quot;7&quot;/&gt;&lt;/CPresentation&gt;&lt;/root&gt;"/>
  <p:tag name="TSCLIENT" val="True"/>
  <p:tag name="MTBTACCENT" val="Accent1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.o98SoiFy91A3BEm45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7IqASrXgBhCh1Cqos3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OXtdSuox6Lt0s4FLA0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5a.30oe1xmbXwjDoU0K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dYh2halhdJF8285D2EK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11CnWVj4SHrNwkW4jJl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FDKWot6hXzrttW11n8A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d6dth08tUGQumsWVEb9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KsTDVLK_dG90r4UwOo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0mgXOmqjmJhsxDkh.0T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jiRFgosu1ceI1jhy8yB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VbVzfboTV4MZRME9u.u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ND2yuhwA5F6dwgrcNck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ZxN_OizesHAduWdSTPe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b87Uq18zwplXU0IuQNU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NLusCFOya.iVh4ubix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q_lebdFlPrTXB9fMT4f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jaZV2t50WPSHTUtWpl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P_.gIZGQPXw.fS0dZN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NLusCFOya.iVh4ubi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iyB.KA1w5Zf6omJ8wP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CKC9nVYO1Uqs5KvPb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3BZqfYDGOVAxJrfDmY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UTfoCa07OVAmOGtXHmm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uO0.8Pky3Fso9DP9x8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.o98SoiFy91A3BEm45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7IqASrXgBhCh1Cqos3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OXtdSuox6Lt0s4FLA0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OewHppY6esXQVtHgLQr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NLusCFOya.iVh4ubix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q_lebdFlPrTXB9fMT4f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q_lebdFlPrTXB9fMT4f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jaZV2t50WPSHTUtWpl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P_.gIZGQPXw.fS0dZNc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iyB.KA1w5Zf6omJ8wP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CKC9nVYO1Uqs5KvPb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3BZqfYDGOVAxJrfDmY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UTfoCa07OVAmOGtXHmm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uO0.8Pky3Fso9DP9x8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jaZV2t50WPSHTUtWpl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.o98SoiFy91A3BEm45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7IqASrXgBhCh1Cqos3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OXtdSuox6Lt0s4FLA0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NLusCFOya.iVh4ubix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q_lebdFlPrTXB9fMT4f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P_.gIZGQPXw.fS0dZNc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jaZV2t50WPSHTUtWpl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P_.gIZGQPXw.fS0dZNc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iyB.KA1w5Zf6omJ8wP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CKC9nVYO1Uqs5KvPb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3BZqfYDGOVAxJrfDmY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UTfoCa07OVAmOGtXHmm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uO0.8Pky3Fso9DP9x8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.o98SoiFy91A3BEm45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7IqASrXgBhCh1Cqos3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iyB.KA1w5Zf6omJ8wP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OXtdSuox6Lt0s4FLA0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NLusCFOya.iVh4ubix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q_lebdFlPrTXB9fMT4f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jaZV2t50WPSHTUtWplg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P_.gIZGQPXw.fS0dZNc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CKC9nVYO1Uqs5KvPb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iyB.KA1w5Zf6omJ8wP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CKC9nVYO1Uqs5KvPb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3BZqfYDGOVAxJrfDmY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UTfoCa07OVAmOGtXHmm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uO0.8Pky3Fso9DP9x8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.o98SoiFy91A3BEm45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7IqASrXgBhCh1Cqos3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OXtdSuox6Lt0s4FLA0w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INx_0pMwsWRCcKP42vc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6UdhrtVECJ7.pdxfPClw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2KMtcT.qsLJ5Try0NRX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3_FnsufLLOp8EgBNp2H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skna9Qnvl1Rz.TH_rAM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9CFeZmmd5oxvWHkw.N4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D_gve..LvuUik8oQljn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xqrnhV9WolVa5kapTjf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.BhQ4fTCL9Hp7Pt3HY7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DxkYjPqL06TLwhe2sp5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164WYnaB909I_H1u6Fj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yZQcMOxhcB6O5z2YIov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qj09abaDIkxWWmTRES3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3BZqfYDGOVAxJrfDmY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Y7liG.4ZvMk.ucWShROQ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CDKLJ_4V8rW_3sHSR1h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.Qu5In3YJbVLX7UWCmk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qd.yrS3C.VxHf9saJIFw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cOnK7EeRTjyA.F2F0Zc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JshdTPs4DBL4RoVpbBew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daLMwwGm7aZ75sVMMYH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FFs1HEwIJevL9CPyrsZ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ZGMirobbka6MzYDoSMW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5_FbqpUElqOaPhVz5li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UFyPsG75effhbCqCMpEg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qQJLTG2z6hEuRatMUXuA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nFlFaQ6TCHM7KIpj7n2w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Mla76BDvXx3IXrnelW8Q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mfHf.edR_kMzI92opL5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5xRkmnWCRwHFn8.h3IUw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laceNebj2m6dvYxaVKm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3_lr3Nk.fJoQ8cNsDKD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8VEpBROG0AFSWy5EsFG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NUYHzqYDL82GElQbqA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laPvE.kC5iNfECKbEZ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JfiNQPSeIzUE34XPgEnQ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a1ZbJyh.hzea9CU94ucA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EKMy5.pSQjrAXfIXDVcA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R_NQZSQ7FkFcbID3ukb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JSystGTW80gokgSEohM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I7BbjECzDhY4ic5kzb3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XekSd3jB.9mLL8fzPQJ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rhj2hV8uk.T0uYYcIpt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VFTjRIdLgA1anKHl_nh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dSidVzcx8llh9wFtnT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.OWmzOO7gIhnhxFTyNx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dOt3XmwQVHJntOKvjE9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.Aq52CgN2LrJW872t.u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fWyAO_JrlYP.hDEwy1dg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TtXQVmTrmEwXclb9eoG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.li0qKCzhIb6VPoq3B2A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_V33SeUMbVLnCLah3cn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4aboEGcFCntmlzgvF7lw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cjcjCR9j87Tau7GLao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1DvTRdbSGrmKJersjAX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HIVqCEx.rzcO_2Jf0J3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wQBIQ1..RYlQujJKM_P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tuD87pLmAAglsg5USWtA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pcYAHm.GuzsOI3EG6BbA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qDNPjg8kdWFgFD8.py2g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W_W7etxJ0YEJ3W.mISM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orTD91AD.dYIO9hM48BQ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OzfO4MORZG1UYMaorf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u9pJTF3YC0GG8MjvLz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J.SMD.eGYw.TrU.3bk.g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a2QVIlZpjk4YEGDCZing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HXs.i3hs53lHxqOaA5vg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8rEuWxffPsqPF2YlAZ9g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lh_rcD9dexOSIYrZBZh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b.A4RQKL4FXeOsS2yxh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3CvCTtW6CimF8leoJm9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aaInxY4EG4nrYzGOXRjQ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cadYC8joztnWScfnEwuw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e6yXIJwm3aa69w4gB9G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5z3o83ZBiYACjF.ReY1Q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kDQX_pfPbysajW32m2qA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CfCt2pUtuYteUiRaxIQw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EVI2EbTFluGcbyd5OnlQ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_XFxqmG7sP6vTi1AxV6A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lv88LJJhViKjiWc1XXLw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1Bf6panpphYXd7WA6iXw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gJXDBWsteB7zB_yHj2K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FU2dWwTEYM1E8J2MsVeg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5HpZV8oWErjFd_24Bsh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Cc25J6p2qqS6DW8HiAaA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ENb6KhjQcdoGZ2cXflh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klS47cafxL1Et57LWsr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mf3WXIoZBgsx4k7GdscQ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8_Qi9WiOiliQqWdpXA4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7nWTeKcL_8cD9IStqQI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p0mnqZ4P_F0KVPnQxMHg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Pmk1b7PtL1zYeO82aoGw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UTfoCa07OVAmOGtXHmm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uO0.8Pky3Fso9DP9x8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D83"/>
      </a:accent1>
      <a:accent2>
        <a:srgbClr val="7B9CED"/>
      </a:accent2>
      <a:accent3>
        <a:srgbClr val="1B56E9"/>
      </a:accent3>
      <a:accent4>
        <a:srgbClr val="DDA037"/>
      </a:accent4>
      <a:accent5>
        <a:srgbClr val="A1A3A5"/>
      </a:accent5>
      <a:accent6>
        <a:srgbClr val="CFCFCF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D83"/>
        </a:accent1>
        <a:accent2>
          <a:srgbClr val="7B9CED"/>
        </a:accent2>
        <a:accent3>
          <a:srgbClr val="1B56E9"/>
        </a:accent3>
        <a:accent4>
          <a:srgbClr val="DDA037"/>
        </a:accent4>
        <a:accent5>
          <a:srgbClr val="A1A3A5"/>
        </a:accent5>
        <a:accent6>
          <a:srgbClr val="CFCFC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0734_OFF.potx" id="{B99654CB-F1B9-41E3-A169-339811ED5F54}" vid="{F40D82E9-5348-40C5-82A2-1CB421C2615D}"/>
    </a:ext>
  </a:extLst>
</a:theme>
</file>

<file path=ppt/theme/theme2.xml><?xml version="1.0" encoding="utf-8"?>
<a:theme xmlns:a="http://schemas.openxmlformats.org/drawingml/2006/main" name="Contrast">
  <a:themeElements>
    <a:clrScheme name="Scheme 2">
      <a:dk1>
        <a:srgbClr val="FFFFFF"/>
      </a:dk1>
      <a:lt1>
        <a:srgbClr val="0C2D83"/>
      </a:lt1>
      <a:dk2>
        <a:srgbClr val="000000"/>
      </a:dk2>
      <a:lt2>
        <a:srgbClr val="000000"/>
      </a:lt2>
      <a:accent1>
        <a:srgbClr val="FFFFFF"/>
      </a:accent1>
      <a:accent2>
        <a:srgbClr val="7B9CED"/>
      </a:accent2>
      <a:accent3>
        <a:srgbClr val="1B56E9"/>
      </a:accent3>
      <a:accent4>
        <a:srgbClr val="DDA037"/>
      </a:accent4>
      <a:accent5>
        <a:srgbClr val="A1A3A5"/>
      </a:accent5>
      <a:accent6>
        <a:srgbClr val="CFCFCF"/>
      </a:accent6>
      <a:hlink>
        <a:srgbClr val="0000FF"/>
      </a:hlink>
      <a:folHlink>
        <a:srgbClr val="80008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400" dirty="0" err="1" smtClean="0"/>
        </a:defPPr>
      </a:lstStyle>
    </a:txDef>
  </a:objectDefaults>
  <a:extraClrSchemeLst>
    <a:extraClrScheme>
      <a:clrScheme name="Scheme 2">
        <a:dk1>
          <a:srgbClr val="FFFFFF"/>
        </a:dk1>
        <a:lt1>
          <a:srgbClr val="0C2D83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7B9CED"/>
        </a:accent2>
        <a:accent3>
          <a:srgbClr val="1B56E9"/>
        </a:accent3>
        <a:accent4>
          <a:srgbClr val="DDA037"/>
        </a:accent4>
        <a:accent5>
          <a:srgbClr val="A1A3A5"/>
        </a:accent5>
        <a:accent6>
          <a:srgbClr val="CFCFC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0734_OFF.potx" id="{B99654CB-F1B9-41E3-A169-339811ED5F54}" vid="{F27A7296-E4AD-4E7E-91E8-1857AB728449}"/>
    </a:ext>
  </a:extLst>
</a:theme>
</file>

<file path=ppt/theme/theme3.xml><?xml version="1.0" encoding="utf-8"?>
<a:theme xmlns:a="http://schemas.openxmlformats.org/drawingml/2006/main" name="1_White">
  <a:themeElements>
    <a:clrScheme name="Scheme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D83"/>
      </a:accent1>
      <a:accent2>
        <a:srgbClr val="7B9CED"/>
      </a:accent2>
      <a:accent3>
        <a:srgbClr val="1B56E9"/>
      </a:accent3>
      <a:accent4>
        <a:srgbClr val="DDA037"/>
      </a:accent4>
      <a:accent5>
        <a:srgbClr val="A1A3A5"/>
      </a:accent5>
      <a:accent6>
        <a:srgbClr val="CFCFCF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D83"/>
        </a:accent1>
        <a:accent2>
          <a:srgbClr val="7B9CED"/>
        </a:accent2>
        <a:accent3>
          <a:srgbClr val="1B56E9"/>
        </a:accent3>
        <a:accent4>
          <a:srgbClr val="DDA037"/>
        </a:accent4>
        <a:accent5>
          <a:srgbClr val="A1A3A5"/>
        </a:accent5>
        <a:accent6>
          <a:srgbClr val="CFCFC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0734_OFF.potx" id="{B99654CB-F1B9-41E3-A169-339811ED5F54}" vid="{F40D82E9-5348-40C5-82A2-1CB421C2615D}"/>
    </a:ext>
  </a:extLst>
</a:theme>
</file>

<file path=ppt/theme/theme4.xml><?xml version="1.0" encoding="utf-8"?>
<a:theme xmlns:a="http://schemas.openxmlformats.org/drawingml/2006/main" name="2_White">
  <a:themeElements>
    <a:clrScheme name="Scheme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D83"/>
      </a:accent1>
      <a:accent2>
        <a:srgbClr val="7B9CED"/>
      </a:accent2>
      <a:accent3>
        <a:srgbClr val="1B56E9"/>
      </a:accent3>
      <a:accent4>
        <a:srgbClr val="DDA037"/>
      </a:accent4>
      <a:accent5>
        <a:srgbClr val="A1A3A5"/>
      </a:accent5>
      <a:accent6>
        <a:srgbClr val="CFCFCF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D83"/>
        </a:accent1>
        <a:accent2>
          <a:srgbClr val="7B9CED"/>
        </a:accent2>
        <a:accent3>
          <a:srgbClr val="1B56E9"/>
        </a:accent3>
        <a:accent4>
          <a:srgbClr val="DDA037"/>
        </a:accent4>
        <a:accent5>
          <a:srgbClr val="A1A3A5"/>
        </a:accent5>
        <a:accent6>
          <a:srgbClr val="CFCFC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0734_OFF.potx" id="{08D715AD-96AF-4FD3-9DE8-B402379307F2}" vid="{10BDF7FB-8CBB-46DA-AD6B-D39AED638513}"/>
    </a:ext>
  </a:extLst>
</a:theme>
</file>

<file path=ppt/theme/theme5.xml><?xml version="1.0" encoding="utf-8"?>
<a:theme xmlns:a="http://schemas.openxmlformats.org/drawingml/2006/main" name="3_White">
  <a:themeElements>
    <a:clrScheme name="Scheme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D83"/>
      </a:accent1>
      <a:accent2>
        <a:srgbClr val="7B9CED"/>
      </a:accent2>
      <a:accent3>
        <a:srgbClr val="1B56E9"/>
      </a:accent3>
      <a:accent4>
        <a:srgbClr val="DDA037"/>
      </a:accent4>
      <a:accent5>
        <a:srgbClr val="A1A3A5"/>
      </a:accent5>
      <a:accent6>
        <a:srgbClr val="CFCFCF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D83"/>
        </a:accent1>
        <a:accent2>
          <a:srgbClr val="7B9CED"/>
        </a:accent2>
        <a:accent3>
          <a:srgbClr val="1B56E9"/>
        </a:accent3>
        <a:accent4>
          <a:srgbClr val="DDA037"/>
        </a:accent4>
        <a:accent5>
          <a:srgbClr val="A1A3A5"/>
        </a:accent5>
        <a:accent6>
          <a:srgbClr val="CFCFC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0734_OFF.potx" id="{B99654CB-F1B9-41E3-A169-339811ED5F54}" vid="{F40D82E9-5348-40C5-82A2-1CB421C2615D}"/>
    </a:ext>
  </a:extLst>
</a:theme>
</file>

<file path=ppt/theme/theme6.xml><?xml version="1.0" encoding="utf-8"?>
<a:theme xmlns:a="http://schemas.openxmlformats.org/drawingml/2006/main" name="4_White">
  <a:themeElements>
    <a:clrScheme name="Scheme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D83"/>
      </a:accent1>
      <a:accent2>
        <a:srgbClr val="7B9CED"/>
      </a:accent2>
      <a:accent3>
        <a:srgbClr val="1B56E9"/>
      </a:accent3>
      <a:accent4>
        <a:srgbClr val="DDA037"/>
      </a:accent4>
      <a:accent5>
        <a:srgbClr val="A1A3A5"/>
      </a:accent5>
      <a:accent6>
        <a:srgbClr val="CFCFCF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D83"/>
        </a:accent1>
        <a:accent2>
          <a:srgbClr val="7B9CED"/>
        </a:accent2>
        <a:accent3>
          <a:srgbClr val="1B56E9"/>
        </a:accent3>
        <a:accent4>
          <a:srgbClr val="DDA037"/>
        </a:accent4>
        <a:accent5>
          <a:srgbClr val="A1A3A5"/>
        </a:accent5>
        <a:accent6>
          <a:srgbClr val="CFCFC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0734_OFF.potx" id="{08D715AD-96AF-4FD3-9DE8-B402379307F2}" vid="{10BDF7FB-8CBB-46DA-AD6B-D39AED638513}"/>
    </a:ext>
  </a:extLst>
</a:theme>
</file>

<file path=ppt/theme/theme7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5</Words>
  <Application>Microsoft Office PowerPoint</Application>
  <PresentationFormat>On-screen Show (4:3)</PresentationFormat>
  <Paragraphs>9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Segoe UI</vt:lpstr>
      <vt:lpstr>Wingdings</vt:lpstr>
      <vt:lpstr>White</vt:lpstr>
      <vt:lpstr>Contrast</vt:lpstr>
      <vt:lpstr>1_White</vt:lpstr>
      <vt:lpstr>2_White</vt:lpstr>
      <vt:lpstr>3_White</vt:lpstr>
      <vt:lpstr>4_White</vt:lpstr>
      <vt:lpstr>think-cell Slide</vt:lpstr>
      <vt:lpstr>COVID-19 Hospitalization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0-06-25T17:16:46Z</dcterms:created>
  <dcterms:modified xsi:type="dcterms:W3CDTF">2022-02-04T21:47:07Z</dcterms:modified>
  <cp:category/>
  <cp:contentStatus/>
</cp:coreProperties>
</file>